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diagrams/data2.xml" ContentType="application/vnd.openxmlformats-officedocument.drawingml.diagramData+xml"/>
  <Override PartName="/ppt/diagrams/data22.xml" ContentType="application/vnd.openxmlformats-officedocument.drawingml.diagramData+xml"/>
  <Override PartName="/ppt/diagrams/data21.xml" ContentType="application/vnd.openxmlformats-officedocument.drawingml.diagramData+xml"/>
  <Override PartName="/ppt/diagrams/data20.xml" ContentType="application/vnd.openxmlformats-officedocument.drawingml.diagramData+xml"/>
  <Override PartName="/ppt/diagrams/data10.xml" ContentType="application/vnd.openxmlformats-officedocument.drawingml.diagramData+xml"/>
  <Override PartName="/ppt/diagrams/data9.xml" ContentType="application/vnd.openxmlformats-officedocument.drawingml.diagramData+xml"/>
  <Override PartName="/ppt/diagrams/data8.xml" ContentType="application/vnd.openxmlformats-officedocument.drawingml.diagramData+xml"/>
  <Override PartName="/ppt/diagrams/data7.xml" ContentType="application/vnd.openxmlformats-officedocument.drawingml.diagramData+xml"/>
  <Override PartName="/ppt/diagrams/data6.xml" ContentType="application/vnd.openxmlformats-officedocument.drawingml.diagramData+xml"/>
  <Override PartName="/ppt/diagrams/data5.xml" ContentType="application/vnd.openxmlformats-officedocument.drawingml.diagramData+xml"/>
  <Override PartName="/ppt/diagrams/data4.xml" ContentType="application/vnd.openxmlformats-officedocument.drawingml.diagramData+xml"/>
  <Override PartName="/ppt/diagrams/data11.xml" ContentType="application/vnd.openxmlformats-officedocument.drawingml.diagramData+xml"/>
  <Override PartName="/ppt/diagrams/data12.xml" ContentType="application/vnd.openxmlformats-officedocument.drawingml.diagramData+xml"/>
  <Override PartName="/ppt/diagrams/data13.xml" ContentType="application/vnd.openxmlformats-officedocument.drawingml.diagramData+xml"/>
  <Override PartName="/ppt/diagrams/data19.xml" ContentType="application/vnd.openxmlformats-officedocument.drawingml.diagramData+xml"/>
  <Override PartName="/ppt/diagrams/data18.xml" ContentType="application/vnd.openxmlformats-officedocument.drawingml.diagramData+xml"/>
  <Override PartName="/ppt/diagrams/data17.xml" ContentType="application/vnd.openxmlformats-officedocument.drawingml.diagramData+xml"/>
  <Override PartName="/ppt/diagrams/data16.xml" ContentType="application/vnd.openxmlformats-officedocument.drawingml.diagramData+xml"/>
  <Override PartName="/ppt/diagrams/data15.xml" ContentType="application/vnd.openxmlformats-officedocument.drawingml.diagramData+xml"/>
  <Override PartName="/ppt/diagrams/data14.xml" ContentType="application/vnd.openxmlformats-officedocument.drawingml.diagramData+xml"/>
  <Override PartName="/ppt/diagrams/data3.xml" ContentType="application/vnd.openxmlformats-officedocument.drawingml.diagramData+xml"/>
  <Override PartName="/ppt/presentation.xml" ContentType="application/vnd.openxmlformats-officedocument.presentationml.presentation.main+xml"/>
  <Override PartName="/ppt/slides/slide44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3.xml" ContentType="application/vnd.openxmlformats-officedocument.presentationml.slide+xml"/>
  <Override PartName="/ppt/diagrams/data1.xml" ContentType="application/vnd.openxmlformats-officedocument.drawingml.diagramData+xml"/>
  <Override PartName="/ppt/slides/slide21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16.xml" ContentType="application/vnd.openxmlformats-officedocument.presentationml.slide+xml"/>
  <Override PartName="/ppt/slides/slide22.xml" ContentType="application/vnd.openxmlformats-officedocument.presentationml.slide+xml"/>
  <Override PartName="/ppt/slides/slide1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5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layout18.xml" ContentType="application/vnd.openxmlformats-officedocument.drawingml.diagramLayout+xml"/>
  <Override PartName="/ppt/theme/theme2.xml" ContentType="application/vnd.openxmlformats-officedocument.theme+xml"/>
  <Override PartName="/ppt/diagrams/colors18.xml" ContentType="application/vnd.openxmlformats-officedocument.drawingml.diagramColors+xml"/>
  <Override PartName="/ppt/diagrams/quickStyle19.xml" ContentType="application/vnd.openxmlformats-officedocument.drawingml.diagramStyle+xml"/>
  <Override PartName="/ppt/diagrams/layout19.xml" ContentType="application/vnd.openxmlformats-officedocument.drawingml.diagramLayout+xml"/>
  <Override PartName="/ppt/diagrams/drawing18.xml" ContentType="application/vnd.ms-office.drawingml.diagramDrawing+xml"/>
  <Override PartName="/ppt/diagrams/quickStyle18.xml" ContentType="application/vnd.openxmlformats-officedocument.drawingml.diagramStyle+xml"/>
  <Override PartName="/ppt/diagrams/colors19.xml" ContentType="application/vnd.openxmlformats-officedocument.drawingml.diagramColors+xml"/>
  <Override PartName="/ppt/diagrams/quickStyle16.xml" ContentType="application/vnd.openxmlformats-officedocument.drawingml.diagramStyle+xml"/>
  <Override PartName="/ppt/diagrams/layout16.xml" ContentType="application/vnd.openxmlformats-officedocument.drawingml.diagramLayout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heme/theme3.xml" ContentType="application/vnd.openxmlformats-officedocument.theme+xml"/>
  <Override PartName="/ppt/diagrams/drawing17.xml" ContentType="application/vnd.ms-office.drawingml.diagramDrawing+xml"/>
  <Override PartName="/ppt/diagrams/colors17.xml" ContentType="application/vnd.openxmlformats-officedocument.drawingml.diagramColors+xml"/>
  <Override PartName="/ppt/diagrams/quickStyle17.xml" ContentType="application/vnd.openxmlformats-officedocument.drawingml.diagramStyle+xml"/>
  <Override PartName="/ppt/diagrams/layout17.xml" ContentType="application/vnd.openxmlformats-officedocument.drawingml.diagramLayout+xml"/>
  <Override PartName="/ppt/theme/theme1.xml" ContentType="application/vnd.openxmlformats-officedocument.theme+xml"/>
  <Override PartName="/ppt/diagrams/drawing22.xml" ContentType="application/vnd.ms-office.drawingml.diagramDrawing+xml"/>
  <Override PartName="/ppt/diagrams/colors22.xml" ContentType="application/vnd.openxmlformats-officedocument.drawingml.diagramColors+xml"/>
  <Override PartName="/ppt/diagrams/quickStyle22.xml" ContentType="application/vnd.openxmlformats-officedocument.drawingml.diagramStyle+xml"/>
  <Override PartName="/ppt/diagrams/layout22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rawing21.xml" ContentType="application/vnd.ms-office.drawingml.diagramDrawing+xml"/>
  <Override PartName="/ppt/diagrams/colors21.xml" ContentType="application/vnd.openxmlformats-officedocument.drawingml.diagramColors+xml"/>
  <Override PartName="/ppt/diagrams/quickStyle21.xml" ContentType="application/vnd.openxmlformats-officedocument.drawingml.diagramStyle+xml"/>
  <Override PartName="/ppt/diagrams/layout21.xml" ContentType="application/vnd.openxmlformats-officedocument.drawingml.diagramLayout+xml"/>
  <Override PartName="/ppt/diagrams/drawing19.xml" ContentType="application/vnd.ms-office.drawingml.diagramDrawing+xml"/>
  <Override PartName="/ppt/diagrams/drawing15.xml" ContentType="application/vnd.ms-office.drawingml.diagramDrawing+xml"/>
  <Override PartName="/ppt/diagrams/drawing1.xml" ContentType="application/vnd.ms-office.drawingml.diagramDrawing+xml"/>
  <Override PartName="/ppt/diagrams/layout4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quickStyle1.xml" ContentType="application/vnd.openxmlformats-officedocument.drawingml.diagramStyle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drawing5.xml" ContentType="application/vnd.ms-office.drawingml.diagramDrawing+xml"/>
  <Override PartName="/ppt/diagrams/colors1.xml" ContentType="application/vnd.openxmlformats-officedocument.drawingml.diagramColors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colors6.xml" ContentType="application/vnd.openxmlformats-officedocument.drawingml.diagramColors+xml"/>
  <Override PartName="/ppt/diagrams/colors15.xml" ContentType="application/vnd.openxmlformats-officedocument.drawingml.diagramColors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rawing10.xml" ContentType="application/vnd.ms-office.drawingml.diagramDrawing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layout14.xml" ContentType="application/vnd.openxmlformats-officedocument.drawingml.diagramLayout+xml"/>
  <Override PartName="/ppt/diagrams/drawing13.xml" ContentType="application/vnd.ms-office.drawingml.diagramDrawing+xml"/>
  <Override PartName="/ppt/diagrams/drawing6.xml" ContentType="application/vnd.ms-office.drawingml.diagramDrawing+xml"/>
  <Override PartName="/ppt/diagrams/colors10.xml" ContentType="application/vnd.openxmlformats-officedocument.drawingml.diagramColors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layout8.xml" ContentType="application/vnd.openxmlformats-officedocument.drawingml.diagramLayout+xml"/>
  <Override PartName="/ppt/diagrams/drawing7.xml" ContentType="application/vnd.ms-office.drawingml.diagramDrawing+xml"/>
  <Override PartName="/ppt/diagrams/layout1.xml" ContentType="application/vnd.openxmlformats-officedocument.drawingml.diagramLayout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quickStyle8.xml" ContentType="application/vnd.openxmlformats-officedocument.drawingml.diagramStyle+xml"/>
  <Override PartName="/ppt/diagrams/drawing8.xml" ContentType="application/vnd.ms-office.drawingml.diagramDrawing+xml"/>
  <Override PartName="/ppt/diagrams/colors8.xml" ContentType="application/vnd.openxmlformats-officedocument.drawingml.diagramColors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quickStyle9.xml" ContentType="application/vnd.openxmlformats-officedocument.drawingml.diagramStyle+xml"/>
  <Override PartName="/ppt/diagrams/layout9.xml" ContentType="application/vnd.openxmlformats-officedocument.drawingml.diagramLayou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0" r:id="rId1"/>
  </p:sldMasterIdLst>
  <p:notesMasterIdLst>
    <p:notesMasterId r:id="rId46"/>
  </p:notesMasterIdLst>
  <p:handoutMasterIdLst>
    <p:handoutMasterId r:id="rId47"/>
  </p:handoutMasterIdLst>
  <p:sldIdLst>
    <p:sldId id="257" r:id="rId2"/>
    <p:sldId id="259" r:id="rId3"/>
    <p:sldId id="260" r:id="rId4"/>
    <p:sldId id="378" r:id="rId5"/>
    <p:sldId id="289" r:id="rId6"/>
    <p:sldId id="320" r:id="rId7"/>
    <p:sldId id="321" r:id="rId8"/>
    <p:sldId id="323" r:id="rId9"/>
    <p:sldId id="324" r:id="rId10"/>
    <p:sldId id="325" r:id="rId11"/>
    <p:sldId id="326" r:id="rId12"/>
    <p:sldId id="327" r:id="rId13"/>
    <p:sldId id="328" r:id="rId14"/>
    <p:sldId id="267" r:id="rId15"/>
    <p:sldId id="312" r:id="rId16"/>
    <p:sldId id="380" r:id="rId17"/>
    <p:sldId id="329" r:id="rId18"/>
    <p:sldId id="314" r:id="rId19"/>
    <p:sldId id="315" r:id="rId20"/>
    <p:sldId id="330" r:id="rId21"/>
    <p:sldId id="331" r:id="rId22"/>
    <p:sldId id="317" r:id="rId23"/>
    <p:sldId id="379" r:id="rId24"/>
    <p:sldId id="350" r:id="rId25"/>
    <p:sldId id="351" r:id="rId26"/>
    <p:sldId id="352" r:id="rId27"/>
    <p:sldId id="353" r:id="rId28"/>
    <p:sldId id="354" r:id="rId29"/>
    <p:sldId id="355" r:id="rId30"/>
    <p:sldId id="364" r:id="rId31"/>
    <p:sldId id="365" r:id="rId32"/>
    <p:sldId id="362" r:id="rId33"/>
    <p:sldId id="363" r:id="rId34"/>
    <p:sldId id="360" r:id="rId35"/>
    <p:sldId id="361" r:id="rId36"/>
    <p:sldId id="358" r:id="rId37"/>
    <p:sldId id="359" r:id="rId38"/>
    <p:sldId id="356" r:id="rId39"/>
    <p:sldId id="357" r:id="rId40"/>
    <p:sldId id="366" r:id="rId41"/>
    <p:sldId id="367" r:id="rId42"/>
    <p:sldId id="368" r:id="rId43"/>
    <p:sldId id="369" r:id="rId44"/>
    <p:sldId id="332" r:id="rId45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62" autoAdjust="0"/>
    <p:restoredTop sz="94660"/>
  </p:normalViewPr>
  <p:slideViewPr>
    <p:cSldViewPr snapToGrid="0">
      <p:cViewPr varScale="1">
        <p:scale>
          <a:sx n="36" d="100"/>
          <a:sy n="36" d="100"/>
        </p:scale>
        <p:origin x="66" y="8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ustomXml" Target="../customXml/item2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/Relationships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image" Target="../media/image50.pn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Relationship Id="rId4" Type="http://schemas.openxmlformats.org/officeDocument/2006/relationships/image" Target="../media/image56.png"/></Relationships>
</file>

<file path=ppt/diagrams/_rels/data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diagrams/_rels/data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image" Target="../media/image60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diagrams/_rels/data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image" Target="../media/image65.png"/></Relationships>
</file>

<file path=ppt/diagrams/_rels/data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image" Target="../media/image68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440292-EE6F-4E4D-A7B7-5314C4B78238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ACE6BDA9-FBAB-4AF2-AF98-75737893E0C9}">
      <dgm:prSet phldrT="[Texto]" custT="1"/>
      <dgm:spPr/>
      <dgm:t>
        <a:bodyPr/>
        <a:lstStyle/>
        <a:p>
          <a:r>
            <a:rPr lang="es-PE" sz="1800" dirty="0" smtClean="0"/>
            <a:t>Beneficios de la Gestión de Proyectos Profesional</a:t>
          </a:r>
          <a:endParaRPr lang="es-PE" sz="1800" dirty="0"/>
        </a:p>
      </dgm:t>
    </dgm:pt>
    <dgm:pt modelId="{2F43072A-2A87-46A3-94D4-EF971109DB91}" type="parTrans" cxnId="{DC669078-4BC5-4CBC-9D9D-CE24C55CE8BF}">
      <dgm:prSet/>
      <dgm:spPr/>
      <dgm:t>
        <a:bodyPr/>
        <a:lstStyle/>
        <a:p>
          <a:endParaRPr lang="es-PE" sz="1500"/>
        </a:p>
      </dgm:t>
    </dgm:pt>
    <dgm:pt modelId="{1B35A226-646C-44AA-A719-DE00B6B5E50E}" type="sibTrans" cxnId="{DC669078-4BC5-4CBC-9D9D-CE24C55CE8BF}">
      <dgm:prSet/>
      <dgm:spPr/>
      <dgm:t>
        <a:bodyPr/>
        <a:lstStyle/>
        <a:p>
          <a:endParaRPr lang="es-PE" sz="1500"/>
        </a:p>
      </dgm:t>
    </dgm:pt>
    <dgm:pt modelId="{E863CC3E-ABF8-4175-B2EF-90E986779DA1}">
      <dgm:prSet custT="1"/>
      <dgm:spPr/>
      <dgm:t>
        <a:bodyPr/>
        <a:lstStyle/>
        <a:p>
          <a:r>
            <a:rPr lang="es-PE" sz="1800" b="0" dirty="0"/>
            <a:t>Motivos y ventajas de usar Gestión de </a:t>
          </a:r>
          <a:r>
            <a:rPr lang="es-PE" sz="1800" b="0" dirty="0" smtClean="0"/>
            <a:t>Proyectos</a:t>
          </a:r>
          <a:endParaRPr lang="es-PE" sz="1800" b="0" dirty="0">
            <a:solidFill>
              <a:schemeClr val="tx1">
                <a:lumMod val="75000"/>
                <a:lumOff val="25000"/>
              </a:schemeClr>
            </a:solidFill>
            <a:cs typeface="Arial" panose="020B0604020202020204" pitchFamily="34" charset="0"/>
          </a:endParaRPr>
        </a:p>
      </dgm:t>
    </dgm:pt>
    <dgm:pt modelId="{D78CE780-2F73-4789-A86F-7023C5721D91}" type="parTrans" cxnId="{A974F72A-B392-4A72-AD94-2D411E4F5069}">
      <dgm:prSet/>
      <dgm:spPr/>
      <dgm:t>
        <a:bodyPr/>
        <a:lstStyle/>
        <a:p>
          <a:endParaRPr lang="es-PE"/>
        </a:p>
      </dgm:t>
    </dgm:pt>
    <dgm:pt modelId="{791928AB-E0FB-429D-A65A-C177DADA9CE2}" type="sibTrans" cxnId="{A974F72A-B392-4A72-AD94-2D411E4F5069}">
      <dgm:prSet/>
      <dgm:spPr/>
      <dgm:t>
        <a:bodyPr/>
        <a:lstStyle/>
        <a:p>
          <a:endParaRPr lang="es-PE"/>
        </a:p>
      </dgm:t>
    </dgm:pt>
    <dgm:pt modelId="{F8334272-B28C-44CC-B2E5-38FB7C7139DB}" type="pres">
      <dgm:prSet presAssocID="{FB440292-EE6F-4E4D-A7B7-5314C4B7823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EAFEA86-494E-4E59-934F-6D6900B6DE74}" type="pres">
      <dgm:prSet presAssocID="{ACE6BDA9-FBAB-4AF2-AF98-75737893E0C9}" presName="parentLin" presStyleCnt="0"/>
      <dgm:spPr/>
    </dgm:pt>
    <dgm:pt modelId="{057BED64-F9B6-45DC-A38E-8457002C4E26}" type="pres">
      <dgm:prSet presAssocID="{ACE6BDA9-FBAB-4AF2-AF98-75737893E0C9}" presName="parentLeftMargin" presStyleLbl="node1" presStyleIdx="0" presStyleCnt="2"/>
      <dgm:spPr/>
      <dgm:t>
        <a:bodyPr/>
        <a:lstStyle/>
        <a:p>
          <a:endParaRPr lang="es-ES"/>
        </a:p>
      </dgm:t>
    </dgm:pt>
    <dgm:pt modelId="{DBFD1C7D-3DA0-4403-A776-5B35FE687B38}" type="pres">
      <dgm:prSet presAssocID="{ACE6BDA9-FBAB-4AF2-AF98-75737893E0C9}" presName="parentText" presStyleLbl="node1" presStyleIdx="0" presStyleCnt="2" custScaleY="44993" custLinFactNeighborY="-1261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E2FD38-913A-49E2-B7DC-57CA5EC19FC1}" type="pres">
      <dgm:prSet presAssocID="{ACE6BDA9-FBAB-4AF2-AF98-75737893E0C9}" presName="negativeSpace" presStyleCnt="0"/>
      <dgm:spPr/>
    </dgm:pt>
    <dgm:pt modelId="{D9396626-7442-4ED5-9D1C-980D308E46AE}" type="pres">
      <dgm:prSet presAssocID="{ACE6BDA9-FBAB-4AF2-AF98-75737893E0C9}" presName="childText" presStyleLbl="conFgAcc1" presStyleIdx="0" presStyleCnt="2" custScaleX="83633" custScaleY="37419" custLinFactNeighborY="61294">
        <dgm:presLayoutVars>
          <dgm:bulletEnabled val="1"/>
        </dgm:presLayoutVars>
      </dgm:prSet>
      <dgm:spPr/>
    </dgm:pt>
    <dgm:pt modelId="{6F6758DB-E326-432C-9CDB-A8B2A700B594}" type="pres">
      <dgm:prSet presAssocID="{1B35A226-646C-44AA-A719-DE00B6B5E50E}" presName="spaceBetweenRectangles" presStyleCnt="0"/>
      <dgm:spPr/>
    </dgm:pt>
    <dgm:pt modelId="{80C426C1-F311-48EC-A230-9277B6F060EA}" type="pres">
      <dgm:prSet presAssocID="{E863CC3E-ABF8-4175-B2EF-90E986779DA1}" presName="parentLin" presStyleCnt="0"/>
      <dgm:spPr/>
    </dgm:pt>
    <dgm:pt modelId="{03E878AE-44A1-46B2-887D-2CAC080AEACB}" type="pres">
      <dgm:prSet presAssocID="{E863CC3E-ABF8-4175-B2EF-90E986779DA1}" presName="parentLeftMargin" presStyleLbl="node1" presStyleIdx="0" presStyleCnt="2"/>
      <dgm:spPr/>
      <dgm:t>
        <a:bodyPr/>
        <a:lstStyle/>
        <a:p>
          <a:endParaRPr lang="es-PE"/>
        </a:p>
      </dgm:t>
    </dgm:pt>
    <dgm:pt modelId="{473E3F85-A2D8-4758-A59F-2365BAF33975}" type="pres">
      <dgm:prSet presAssocID="{E863CC3E-ABF8-4175-B2EF-90E986779DA1}" presName="parentText" presStyleLbl="node1" presStyleIdx="1" presStyleCnt="2" custScaleY="4499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93FB88C-8838-4E38-8DCD-BE133D33BA7E}" type="pres">
      <dgm:prSet presAssocID="{E863CC3E-ABF8-4175-B2EF-90E986779DA1}" presName="negativeSpace" presStyleCnt="0"/>
      <dgm:spPr/>
    </dgm:pt>
    <dgm:pt modelId="{362963DF-47A3-4DD6-8B65-3EF9BA065D7E}" type="pres">
      <dgm:prSet presAssocID="{E863CC3E-ABF8-4175-B2EF-90E986779DA1}" presName="childText" presStyleLbl="conFgAcc1" presStyleIdx="1" presStyleCnt="2" custScaleX="83757" custScaleY="37419" custLinFactNeighborY="53257">
        <dgm:presLayoutVars>
          <dgm:bulletEnabled val="1"/>
        </dgm:presLayoutVars>
      </dgm:prSet>
      <dgm:spPr/>
    </dgm:pt>
  </dgm:ptLst>
  <dgm:cxnLst>
    <dgm:cxn modelId="{4E5C611E-8DF0-4E93-AD8F-F39A19C8D127}" type="presOf" srcId="{ACE6BDA9-FBAB-4AF2-AF98-75737893E0C9}" destId="{DBFD1C7D-3DA0-4403-A776-5B35FE687B38}" srcOrd="1" destOrd="0" presId="urn:microsoft.com/office/officeart/2005/8/layout/list1"/>
    <dgm:cxn modelId="{A974F72A-B392-4A72-AD94-2D411E4F5069}" srcId="{FB440292-EE6F-4E4D-A7B7-5314C4B78238}" destId="{E863CC3E-ABF8-4175-B2EF-90E986779DA1}" srcOrd="1" destOrd="0" parTransId="{D78CE780-2F73-4789-A86F-7023C5721D91}" sibTransId="{791928AB-E0FB-429D-A65A-C177DADA9CE2}"/>
    <dgm:cxn modelId="{4D9989EB-FAF8-49FF-AC58-9B50FF8F4E56}" type="presOf" srcId="{E863CC3E-ABF8-4175-B2EF-90E986779DA1}" destId="{473E3F85-A2D8-4758-A59F-2365BAF33975}" srcOrd="1" destOrd="0" presId="urn:microsoft.com/office/officeart/2005/8/layout/list1"/>
    <dgm:cxn modelId="{EDF63A02-006E-45F3-A738-686F7C4B5209}" type="presOf" srcId="{E863CC3E-ABF8-4175-B2EF-90E986779DA1}" destId="{03E878AE-44A1-46B2-887D-2CAC080AEACB}" srcOrd="0" destOrd="0" presId="urn:microsoft.com/office/officeart/2005/8/layout/list1"/>
    <dgm:cxn modelId="{F252DAAC-F9E1-4392-979D-6EF9386D0161}" type="presOf" srcId="{ACE6BDA9-FBAB-4AF2-AF98-75737893E0C9}" destId="{057BED64-F9B6-45DC-A38E-8457002C4E26}" srcOrd="0" destOrd="0" presId="urn:microsoft.com/office/officeart/2005/8/layout/list1"/>
    <dgm:cxn modelId="{DC669078-4BC5-4CBC-9D9D-CE24C55CE8BF}" srcId="{FB440292-EE6F-4E4D-A7B7-5314C4B78238}" destId="{ACE6BDA9-FBAB-4AF2-AF98-75737893E0C9}" srcOrd="0" destOrd="0" parTransId="{2F43072A-2A87-46A3-94D4-EF971109DB91}" sibTransId="{1B35A226-646C-44AA-A719-DE00B6B5E50E}"/>
    <dgm:cxn modelId="{2C73D91A-086E-4469-AD79-F8BF688C645C}" type="presOf" srcId="{FB440292-EE6F-4E4D-A7B7-5314C4B78238}" destId="{F8334272-B28C-44CC-B2E5-38FB7C7139DB}" srcOrd="0" destOrd="0" presId="urn:microsoft.com/office/officeart/2005/8/layout/list1"/>
    <dgm:cxn modelId="{57497B87-FF4E-4167-BB9B-0807E1E78FF4}" type="presParOf" srcId="{F8334272-B28C-44CC-B2E5-38FB7C7139DB}" destId="{FEAFEA86-494E-4E59-934F-6D6900B6DE74}" srcOrd="0" destOrd="0" presId="urn:microsoft.com/office/officeart/2005/8/layout/list1"/>
    <dgm:cxn modelId="{6AE61EDE-AEF5-4739-A71E-E8D12BC31DA0}" type="presParOf" srcId="{FEAFEA86-494E-4E59-934F-6D6900B6DE74}" destId="{057BED64-F9B6-45DC-A38E-8457002C4E26}" srcOrd="0" destOrd="0" presId="urn:microsoft.com/office/officeart/2005/8/layout/list1"/>
    <dgm:cxn modelId="{3894767D-A95E-496A-8F5F-AE95F1690712}" type="presParOf" srcId="{FEAFEA86-494E-4E59-934F-6D6900B6DE74}" destId="{DBFD1C7D-3DA0-4403-A776-5B35FE687B38}" srcOrd="1" destOrd="0" presId="urn:microsoft.com/office/officeart/2005/8/layout/list1"/>
    <dgm:cxn modelId="{9AE2A86E-B652-4948-AC1E-539080BC233B}" type="presParOf" srcId="{F8334272-B28C-44CC-B2E5-38FB7C7139DB}" destId="{4EE2FD38-913A-49E2-B7DC-57CA5EC19FC1}" srcOrd="1" destOrd="0" presId="urn:microsoft.com/office/officeart/2005/8/layout/list1"/>
    <dgm:cxn modelId="{B38A593A-206D-499F-8505-7C7EEC4FD16B}" type="presParOf" srcId="{F8334272-B28C-44CC-B2E5-38FB7C7139DB}" destId="{D9396626-7442-4ED5-9D1C-980D308E46AE}" srcOrd="2" destOrd="0" presId="urn:microsoft.com/office/officeart/2005/8/layout/list1"/>
    <dgm:cxn modelId="{F98FAB23-FE85-4283-BBDE-C95E21FFA772}" type="presParOf" srcId="{F8334272-B28C-44CC-B2E5-38FB7C7139DB}" destId="{6F6758DB-E326-432C-9CDB-A8B2A700B594}" srcOrd="3" destOrd="0" presId="urn:microsoft.com/office/officeart/2005/8/layout/list1"/>
    <dgm:cxn modelId="{7270EAA5-FF81-40DD-9470-7F320F09EE2A}" type="presParOf" srcId="{F8334272-B28C-44CC-B2E5-38FB7C7139DB}" destId="{80C426C1-F311-48EC-A230-9277B6F060EA}" srcOrd="4" destOrd="0" presId="urn:microsoft.com/office/officeart/2005/8/layout/list1"/>
    <dgm:cxn modelId="{D449BBD6-77B6-4412-AC9B-1BA0F3724A45}" type="presParOf" srcId="{80C426C1-F311-48EC-A230-9277B6F060EA}" destId="{03E878AE-44A1-46B2-887D-2CAC080AEACB}" srcOrd="0" destOrd="0" presId="urn:microsoft.com/office/officeart/2005/8/layout/list1"/>
    <dgm:cxn modelId="{44ACB1E7-1B37-46B1-A41A-01138C3F93E5}" type="presParOf" srcId="{80C426C1-F311-48EC-A230-9277B6F060EA}" destId="{473E3F85-A2D8-4758-A59F-2365BAF33975}" srcOrd="1" destOrd="0" presId="urn:microsoft.com/office/officeart/2005/8/layout/list1"/>
    <dgm:cxn modelId="{8A914ED6-5EAF-42C2-AE97-9490D23A15D8}" type="presParOf" srcId="{F8334272-B28C-44CC-B2E5-38FB7C7139DB}" destId="{193FB88C-8838-4E38-8DCD-BE133D33BA7E}" srcOrd="5" destOrd="0" presId="urn:microsoft.com/office/officeart/2005/8/layout/list1"/>
    <dgm:cxn modelId="{717F5FD6-4C91-42A7-8E23-BB5C8E8BB36B}" type="presParOf" srcId="{F8334272-B28C-44CC-B2E5-38FB7C7139DB}" destId="{362963DF-47A3-4DD6-8B65-3EF9BA065D7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Cost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Identificar el costo de los recursos del proyecto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Medir el esfuerzo d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8298A05B-8F93-4D27-9293-5DAE3016C597}">
      <dgm:prSet phldrT="[Texto]" custT="1"/>
      <dgm:spPr/>
      <dgm:t>
        <a:bodyPr/>
        <a:lstStyle/>
        <a:p>
          <a:r>
            <a:rPr lang="es-ES" sz="1600" dirty="0" smtClean="0"/>
            <a:t>Cumplir con el presupuesto asignado</a:t>
          </a:r>
          <a:endParaRPr lang="es-ES" sz="1600" dirty="0"/>
        </a:p>
      </dgm:t>
    </dgm:pt>
    <dgm:pt modelId="{F2F414F1-BB74-4D2B-9237-EE73D261B728}" type="parTrans" cxnId="{37AFC471-D515-4132-95AE-2DD82256C3CA}">
      <dgm:prSet/>
      <dgm:spPr/>
      <dgm:t>
        <a:bodyPr/>
        <a:lstStyle/>
        <a:p>
          <a:endParaRPr lang="es-PE"/>
        </a:p>
      </dgm:t>
    </dgm:pt>
    <dgm:pt modelId="{E66E9C94-8E1A-4D8C-A754-D434A6311722}" type="sibTrans" cxnId="{37AFC471-D515-4132-95AE-2DD82256C3CA}">
      <dgm:prSet/>
      <dgm:spPr/>
      <dgm:t>
        <a:bodyPr/>
        <a:lstStyle/>
        <a:p>
          <a:endParaRPr lang="es-PE"/>
        </a:p>
      </dgm:t>
    </dgm:pt>
    <dgm:pt modelId="{40EB74C0-0CCD-477A-85DF-C2F727B9FACB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FC0D6596-7B87-4A0D-BCA2-EE45C0EF2177}" type="pres">
      <dgm:prSet presAssocID="{A0E11DB8-8D83-444F-A43E-AB8F2E3647B0}" presName="centerShape" presStyleLbl="node0" presStyleIdx="0" presStyleCnt="1" custScaleX="118739" custScaleY="100808" custLinFactNeighborX="0" custLinFactNeighborY="-4691"/>
      <dgm:spPr/>
      <dgm:t>
        <a:bodyPr/>
        <a:lstStyle/>
        <a:p>
          <a:endParaRPr lang="es-PE"/>
        </a:p>
      </dgm:t>
    </dgm:pt>
    <dgm:pt modelId="{72321E95-A21A-4894-BF37-6E801D99A68A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EA75A129-2712-4C00-9E64-8F8C486B3A47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197725EB-0A00-4B62-847B-4E1D3C5A39D5}" type="pres">
      <dgm:prSet presAssocID="{FA0B02C4-D29C-4B37-9287-02433EF8EB32}" presName="node" presStyleLbl="node1" presStyleIdx="0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57DB6376-A422-436B-BCB8-A9E7E008C899}" type="pres">
      <dgm:prSet presAssocID="{F2F414F1-BB74-4D2B-9237-EE73D261B728}" presName="parTrans" presStyleLbl="sibTrans2D1" presStyleIdx="1" presStyleCnt="3"/>
      <dgm:spPr/>
      <dgm:t>
        <a:bodyPr/>
        <a:lstStyle/>
        <a:p>
          <a:endParaRPr lang="es-PE"/>
        </a:p>
      </dgm:t>
    </dgm:pt>
    <dgm:pt modelId="{852B54D2-AF74-4468-9DBB-F2F1AF06C2F2}" type="pres">
      <dgm:prSet presAssocID="{F2F414F1-BB74-4D2B-9237-EE73D261B728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75151B93-0DFD-4A9C-8BF2-31DF627FB69E}" type="pres">
      <dgm:prSet presAssocID="{8298A05B-8F93-4D27-9293-5DAE3016C597}" presName="node" presStyleLbl="node1" presStyleIdx="1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9224674-5786-48CB-B839-62384A4F4129}" type="pres">
      <dgm:prSet presAssocID="{F73EC90A-B068-4D6B-A307-7F76A038CB75}" presName="parTrans" presStyleLbl="sibTrans2D1" presStyleIdx="2" presStyleCnt="3"/>
      <dgm:spPr/>
      <dgm:t>
        <a:bodyPr/>
        <a:lstStyle/>
        <a:p>
          <a:endParaRPr lang="es-PE"/>
        </a:p>
      </dgm:t>
    </dgm:pt>
    <dgm:pt modelId="{288E80EE-32EB-45A9-AAE3-4F4C3F186F27}" type="pres">
      <dgm:prSet presAssocID="{F73EC90A-B068-4D6B-A307-7F76A038CB75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3307A84E-703E-49E6-B6C6-D578A5199423}" type="pres">
      <dgm:prSet presAssocID="{4F5DCE7D-05A2-4FFD-8B1A-E0AE522DCB13}" presName="node" presStyleLbl="node1" presStyleIdx="2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9EB41B02-0646-4602-8E52-5863E577959F}" type="presOf" srcId="{F2F414F1-BB74-4D2B-9237-EE73D261B728}" destId="{57DB6376-A422-436B-BCB8-A9E7E008C899}" srcOrd="0" destOrd="0" presId="urn:microsoft.com/office/officeart/2005/8/layout/radial5"/>
    <dgm:cxn modelId="{ADB6C4F2-07B5-4D19-8FB2-A4D443C372ED}" type="presOf" srcId="{F73EC90A-B068-4D6B-A307-7F76A038CB75}" destId="{288E80EE-32EB-45A9-AAE3-4F4C3F186F27}" srcOrd="1" destOrd="0" presId="urn:microsoft.com/office/officeart/2005/8/layout/radial5"/>
    <dgm:cxn modelId="{01C74EF0-8FA3-431F-AB74-41F01CF4A1F5}" type="presOf" srcId="{7491A931-5E17-406A-A26A-9AE89B9A71FC}" destId="{40EB74C0-0CCD-477A-85DF-C2F727B9FACB}" srcOrd="0" destOrd="0" presId="urn:microsoft.com/office/officeart/2005/8/layout/radial5"/>
    <dgm:cxn modelId="{252C57B2-8BB4-4E2B-98C2-42B72A1075FA}" type="presOf" srcId="{A0E11DB8-8D83-444F-A43E-AB8F2E3647B0}" destId="{FC0D6596-7B87-4A0D-BCA2-EE45C0EF217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0D5DE45-0FAE-4089-BB4F-BF7621DCE3D7}" type="presOf" srcId="{7E1EDFCC-BF59-4663-B3F8-70A4696DBEF7}" destId="{EA75A129-2712-4C00-9E64-8F8C486B3A47}" srcOrd="1" destOrd="0" presId="urn:microsoft.com/office/officeart/2005/8/layout/radial5"/>
    <dgm:cxn modelId="{37AFC471-D515-4132-95AE-2DD82256C3CA}" srcId="{A0E11DB8-8D83-444F-A43E-AB8F2E3647B0}" destId="{8298A05B-8F93-4D27-9293-5DAE3016C597}" srcOrd="1" destOrd="0" parTransId="{F2F414F1-BB74-4D2B-9237-EE73D261B728}" sibTransId="{E66E9C94-8E1A-4D8C-A754-D434A6311722}"/>
    <dgm:cxn modelId="{99BFF0C0-98A1-49B8-9D1C-4A53236A62B5}" type="presOf" srcId="{7E1EDFCC-BF59-4663-B3F8-70A4696DBEF7}" destId="{72321E95-A21A-4894-BF37-6E801D99A68A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C902489-09FB-47B4-858D-22BC3E84F0C1}" srcId="{A0E11DB8-8D83-444F-A43E-AB8F2E3647B0}" destId="{4F5DCE7D-05A2-4FFD-8B1A-E0AE522DCB13}" srcOrd="2" destOrd="0" parTransId="{F73EC90A-B068-4D6B-A307-7F76A038CB75}" sibTransId="{ADB32CF2-FAD7-4014-ABB5-C717DA4A2DFD}"/>
    <dgm:cxn modelId="{C9F68392-89A3-4681-A529-BFE281AB14EC}" type="presOf" srcId="{F2F414F1-BB74-4D2B-9237-EE73D261B728}" destId="{852B54D2-AF74-4468-9DBB-F2F1AF06C2F2}" srcOrd="1" destOrd="0" presId="urn:microsoft.com/office/officeart/2005/8/layout/radial5"/>
    <dgm:cxn modelId="{B14041D1-296B-4F37-8C59-C7EB320D12D0}" type="presOf" srcId="{8298A05B-8F93-4D27-9293-5DAE3016C597}" destId="{75151B93-0DFD-4A9C-8BF2-31DF627FB69E}" srcOrd="0" destOrd="0" presId="urn:microsoft.com/office/officeart/2005/8/layout/radial5"/>
    <dgm:cxn modelId="{DF230FFA-864D-4E63-9170-8CE1C42F683E}" type="presOf" srcId="{4F5DCE7D-05A2-4FFD-8B1A-E0AE522DCB13}" destId="{3307A84E-703E-49E6-B6C6-D578A5199423}" srcOrd="0" destOrd="0" presId="urn:microsoft.com/office/officeart/2005/8/layout/radial5"/>
    <dgm:cxn modelId="{354617BA-1DD6-4085-984A-034F7823C584}" type="presOf" srcId="{FA0B02C4-D29C-4B37-9287-02433EF8EB32}" destId="{197725EB-0A00-4B62-847B-4E1D3C5A39D5}" srcOrd="0" destOrd="0" presId="urn:microsoft.com/office/officeart/2005/8/layout/radial5"/>
    <dgm:cxn modelId="{7800BC2A-A8FC-4F15-89D3-FC2A48C7086F}" type="presOf" srcId="{F73EC90A-B068-4D6B-A307-7F76A038CB75}" destId="{F9224674-5786-48CB-B839-62384A4F4129}" srcOrd="0" destOrd="0" presId="urn:microsoft.com/office/officeart/2005/8/layout/radial5"/>
    <dgm:cxn modelId="{0C3B40D8-5F27-488A-BACE-EB09F1C1D688}" type="presParOf" srcId="{40EB74C0-0CCD-477A-85DF-C2F727B9FACB}" destId="{FC0D6596-7B87-4A0D-BCA2-EE45C0EF2177}" srcOrd="0" destOrd="0" presId="urn:microsoft.com/office/officeart/2005/8/layout/radial5"/>
    <dgm:cxn modelId="{6E88D752-D460-4ADE-A834-945050AAF1D4}" type="presParOf" srcId="{40EB74C0-0CCD-477A-85DF-C2F727B9FACB}" destId="{72321E95-A21A-4894-BF37-6E801D99A68A}" srcOrd="1" destOrd="0" presId="urn:microsoft.com/office/officeart/2005/8/layout/radial5"/>
    <dgm:cxn modelId="{0AC0D790-4CFE-47A7-8AF8-269A1022176B}" type="presParOf" srcId="{72321E95-A21A-4894-BF37-6E801D99A68A}" destId="{EA75A129-2712-4C00-9E64-8F8C486B3A47}" srcOrd="0" destOrd="0" presId="urn:microsoft.com/office/officeart/2005/8/layout/radial5"/>
    <dgm:cxn modelId="{4B14531B-0BC2-462E-B481-BABCE3662DE7}" type="presParOf" srcId="{40EB74C0-0CCD-477A-85DF-C2F727B9FACB}" destId="{197725EB-0A00-4B62-847B-4E1D3C5A39D5}" srcOrd="2" destOrd="0" presId="urn:microsoft.com/office/officeart/2005/8/layout/radial5"/>
    <dgm:cxn modelId="{B6D25ABB-438A-4D8E-B562-5C0348008186}" type="presParOf" srcId="{40EB74C0-0CCD-477A-85DF-C2F727B9FACB}" destId="{57DB6376-A422-436B-BCB8-A9E7E008C899}" srcOrd="3" destOrd="0" presId="urn:microsoft.com/office/officeart/2005/8/layout/radial5"/>
    <dgm:cxn modelId="{F2ABE220-0E1F-43BE-A6A6-A37952E1E7BE}" type="presParOf" srcId="{57DB6376-A422-436B-BCB8-A9E7E008C899}" destId="{852B54D2-AF74-4468-9DBB-F2F1AF06C2F2}" srcOrd="0" destOrd="0" presId="urn:microsoft.com/office/officeart/2005/8/layout/radial5"/>
    <dgm:cxn modelId="{C996FAFB-13B0-44F1-903A-F8884ABD3708}" type="presParOf" srcId="{40EB74C0-0CCD-477A-85DF-C2F727B9FACB}" destId="{75151B93-0DFD-4A9C-8BF2-31DF627FB69E}" srcOrd="4" destOrd="0" presId="urn:microsoft.com/office/officeart/2005/8/layout/radial5"/>
    <dgm:cxn modelId="{F4DFFDF8-6926-4B71-AD90-5F5448DEA71D}" type="presParOf" srcId="{40EB74C0-0CCD-477A-85DF-C2F727B9FACB}" destId="{F9224674-5786-48CB-B839-62384A4F4129}" srcOrd="5" destOrd="0" presId="urn:microsoft.com/office/officeart/2005/8/layout/radial5"/>
    <dgm:cxn modelId="{F6E594BA-3750-4A36-96E7-4C23E694E846}" type="presParOf" srcId="{F9224674-5786-48CB-B839-62384A4F4129}" destId="{288E80EE-32EB-45A9-AAE3-4F4C3F186F27}" srcOrd="0" destOrd="0" presId="urn:microsoft.com/office/officeart/2005/8/layout/radial5"/>
    <dgm:cxn modelId="{49A6F115-7307-453C-86FC-61F3EA0B6E04}" type="presParOf" srcId="{40EB74C0-0CCD-477A-85DF-C2F727B9FACB}" destId="{3307A84E-703E-49E6-B6C6-D578A5199423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8.1 Planificar la Gestión de la Calidad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8.2 Gestionar la Calidad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8.3 Controlar la Calidad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A8D331EF-5EEF-43DD-8637-8E02B9E05CAB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F2E9482-C710-4B0D-9EC4-93181B2AACCF}" type="pres">
      <dgm:prSet presAssocID="{11E839E1-B711-434E-A651-6F3C323BC50C}" presName="composite" presStyleCnt="0"/>
      <dgm:spPr/>
    </dgm:pt>
    <dgm:pt modelId="{2E81A837-48B1-4C5B-8570-4AAD57B700E9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FAF0CAF-ADAB-4D50-88F3-7572A7EB97FC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91BE5382-E309-44D1-876B-40D1D38EBFEE}" type="pres">
      <dgm:prSet presAssocID="{799FFC25-7752-45E5-92A7-EB4CA5670BE2}" presName="sibTrans" presStyleCnt="0"/>
      <dgm:spPr/>
    </dgm:pt>
    <dgm:pt modelId="{9EE630F7-0D10-413E-A957-83DCE2BDB68C}" type="pres">
      <dgm:prSet presAssocID="{A7A835AF-88CF-4494-A3A1-1F24B2B203DD}" presName="composite" presStyleCnt="0"/>
      <dgm:spPr/>
    </dgm:pt>
    <dgm:pt modelId="{24601942-D35C-488F-BA37-41C5A3749EB8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441060D-090C-4183-BB4A-FBE8089B7762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6510FA3-FC6B-4EFE-AED0-E5C02EF64977}" type="pres">
      <dgm:prSet presAssocID="{A9B40887-62FA-496F-B8F9-75E0874CBF63}" presName="sibTrans" presStyleCnt="0"/>
      <dgm:spPr/>
    </dgm:pt>
    <dgm:pt modelId="{DDAE601F-5398-4E55-A9A5-BDFAB8C52CAE}" type="pres">
      <dgm:prSet presAssocID="{BD520DCA-9E45-42B6-A648-911261184BC0}" presName="composite" presStyleCnt="0"/>
      <dgm:spPr/>
    </dgm:pt>
    <dgm:pt modelId="{E5309DCA-49FA-4FA2-BAD2-103101B9A8C4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A4F335B-ACE5-4D82-A4DF-2E8C59126884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B3FE4052-0D90-4815-9A69-7448F59FEBB1}" type="presOf" srcId="{E19B414F-5964-4613-9B63-747F00D38EDC}" destId="{A8D331EF-5EEF-43DD-8637-8E02B9E05CAB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BE3C06EA-681A-4AAB-A03A-DA31280CD35A}" type="presOf" srcId="{A7A835AF-88CF-4494-A3A1-1F24B2B203DD}" destId="{24601942-D35C-488F-BA37-41C5A3749EB8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D6555FAC-2B3A-4ED0-992C-AC41280CF845}" type="presOf" srcId="{11E839E1-B711-434E-A651-6F3C323BC50C}" destId="{2E81A837-48B1-4C5B-8570-4AAD57B700E9}" srcOrd="0" destOrd="0" presId="urn:microsoft.com/office/officeart/2008/layout/PictureStrips"/>
    <dgm:cxn modelId="{6381A227-BA84-4225-8E09-689363C596BD}" type="presOf" srcId="{BD520DCA-9E45-42B6-A648-911261184BC0}" destId="{E5309DCA-49FA-4FA2-BAD2-103101B9A8C4}" srcOrd="0" destOrd="0" presId="urn:microsoft.com/office/officeart/2008/layout/PictureStrips"/>
    <dgm:cxn modelId="{EF7B9430-B0E5-483E-87F8-6DD1B6540608}" type="presParOf" srcId="{A8D331EF-5EEF-43DD-8637-8E02B9E05CAB}" destId="{0F2E9482-C710-4B0D-9EC4-93181B2AACCF}" srcOrd="0" destOrd="0" presId="urn:microsoft.com/office/officeart/2008/layout/PictureStrips"/>
    <dgm:cxn modelId="{90C72090-C21C-462F-A27F-56C91F4BF981}" type="presParOf" srcId="{0F2E9482-C710-4B0D-9EC4-93181B2AACCF}" destId="{2E81A837-48B1-4C5B-8570-4AAD57B700E9}" srcOrd="0" destOrd="0" presId="urn:microsoft.com/office/officeart/2008/layout/PictureStrips"/>
    <dgm:cxn modelId="{923BD20C-67F2-4FF9-A34A-E34958F936FF}" type="presParOf" srcId="{0F2E9482-C710-4B0D-9EC4-93181B2AACCF}" destId="{BFAF0CAF-ADAB-4D50-88F3-7572A7EB97FC}" srcOrd="1" destOrd="0" presId="urn:microsoft.com/office/officeart/2008/layout/PictureStrips"/>
    <dgm:cxn modelId="{048D1110-E4F0-4383-BA12-1AFCA78BB743}" type="presParOf" srcId="{A8D331EF-5EEF-43DD-8637-8E02B9E05CAB}" destId="{91BE5382-E309-44D1-876B-40D1D38EBFEE}" srcOrd="1" destOrd="0" presId="urn:microsoft.com/office/officeart/2008/layout/PictureStrips"/>
    <dgm:cxn modelId="{3E7203E9-5114-422E-A61E-B5580FDAC79B}" type="presParOf" srcId="{A8D331EF-5EEF-43DD-8637-8E02B9E05CAB}" destId="{9EE630F7-0D10-413E-A957-83DCE2BDB68C}" srcOrd="2" destOrd="0" presId="urn:microsoft.com/office/officeart/2008/layout/PictureStrips"/>
    <dgm:cxn modelId="{30378552-EB78-424A-A92F-AAA28502BBAA}" type="presParOf" srcId="{9EE630F7-0D10-413E-A957-83DCE2BDB68C}" destId="{24601942-D35C-488F-BA37-41C5A3749EB8}" srcOrd="0" destOrd="0" presId="urn:microsoft.com/office/officeart/2008/layout/PictureStrips"/>
    <dgm:cxn modelId="{A4E77226-7CF6-4F76-A292-C110C2216774}" type="presParOf" srcId="{9EE630F7-0D10-413E-A957-83DCE2BDB68C}" destId="{A441060D-090C-4183-BB4A-FBE8089B7762}" srcOrd="1" destOrd="0" presId="urn:microsoft.com/office/officeart/2008/layout/PictureStrips"/>
    <dgm:cxn modelId="{4F335291-4203-45CB-B5AB-79D6D98D2698}" type="presParOf" srcId="{A8D331EF-5EEF-43DD-8637-8E02B9E05CAB}" destId="{E6510FA3-FC6B-4EFE-AED0-E5C02EF64977}" srcOrd="3" destOrd="0" presId="urn:microsoft.com/office/officeart/2008/layout/PictureStrips"/>
    <dgm:cxn modelId="{CF5A2B42-6526-446C-AD43-B981111227F3}" type="presParOf" srcId="{A8D331EF-5EEF-43DD-8637-8E02B9E05CAB}" destId="{DDAE601F-5398-4E55-A9A5-BDFAB8C52CAE}" srcOrd="4" destOrd="0" presId="urn:microsoft.com/office/officeart/2008/layout/PictureStrips"/>
    <dgm:cxn modelId="{6EF6C60C-5D00-4735-99CC-46D88FAAB8E4}" type="presParOf" srcId="{DDAE601F-5398-4E55-A9A5-BDFAB8C52CAE}" destId="{E5309DCA-49FA-4FA2-BAD2-103101B9A8C4}" srcOrd="0" destOrd="0" presId="urn:microsoft.com/office/officeart/2008/layout/PictureStrips"/>
    <dgm:cxn modelId="{9DED1585-9A03-4FCE-8A9C-6CA5971E997B}" type="presParOf" srcId="{DDAE601F-5398-4E55-A9A5-BDFAB8C52CAE}" destId="{AA4F335B-ACE5-4D82-A4DF-2E8C59126884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 Calidad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Definir los estándares de calidad aplicable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Mejora continua de los procesos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7B445978-1D9D-40C5-AB00-BDE38455B416}">
      <dgm:prSet phldrT="[Texto]" custT="1"/>
      <dgm:spPr/>
      <dgm:t>
        <a:bodyPr/>
        <a:lstStyle/>
        <a:p>
          <a:r>
            <a:rPr lang="es-ES" sz="1600" dirty="0" smtClean="0"/>
            <a:t>Validar el cumplimiento de los estándares de calidad</a:t>
          </a:r>
          <a:endParaRPr lang="es-ES" sz="1600" dirty="0"/>
        </a:p>
      </dgm:t>
    </dgm:pt>
    <dgm:pt modelId="{494A9BAD-0655-47CE-B957-78A372256AA0}" type="parTrans" cxnId="{64E8E29A-873E-4770-AD42-41DF44232110}">
      <dgm:prSet/>
      <dgm:spPr/>
      <dgm:t>
        <a:bodyPr/>
        <a:lstStyle/>
        <a:p>
          <a:endParaRPr lang="es-PE"/>
        </a:p>
      </dgm:t>
    </dgm:pt>
    <dgm:pt modelId="{FCD216F7-B263-4E67-8430-13815862D6AA}" type="sibTrans" cxnId="{64E8E29A-873E-4770-AD42-41DF44232110}">
      <dgm:prSet/>
      <dgm:spPr/>
      <dgm:t>
        <a:bodyPr/>
        <a:lstStyle/>
        <a:p>
          <a:endParaRPr lang="es-PE"/>
        </a:p>
      </dgm:t>
    </dgm:pt>
    <dgm:pt modelId="{CD6A4A1F-4F73-45FF-8701-495D5B2271EE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61897D02-7F1E-4441-96B5-2568FD167AF7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PE"/>
        </a:p>
      </dgm:t>
    </dgm:pt>
    <dgm:pt modelId="{9A39DDA1-0288-486B-A9C9-E72BC4D22589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FE64D90E-81D4-4730-86E2-709F9335E790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56A0158B-F89A-4EDB-9BC6-766E22596DC1}" type="pres">
      <dgm:prSet presAssocID="{FA0B02C4-D29C-4B37-9287-02433EF8EB32}" presName="node" presStyleLbl="node1" presStyleIdx="0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F415745-9F68-49F1-AFB7-15C0084E2315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CCEA0A9A-0677-44C3-9CCB-9FBCFD152201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6D9FD19-440D-4DEB-A578-0DE876CB38A3}" type="pres">
      <dgm:prSet presAssocID="{4F5DCE7D-05A2-4FFD-8B1A-E0AE522DCB13}" presName="node" presStyleLbl="node1" presStyleIdx="1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C5050FBF-AC8A-4299-8212-FB4AEE980B22}" type="pres">
      <dgm:prSet presAssocID="{494A9BAD-0655-47CE-B957-78A372256AA0}" presName="parTrans" presStyleLbl="sibTrans2D1" presStyleIdx="2" presStyleCnt="3"/>
      <dgm:spPr/>
      <dgm:t>
        <a:bodyPr/>
        <a:lstStyle/>
        <a:p>
          <a:endParaRPr lang="es-PE"/>
        </a:p>
      </dgm:t>
    </dgm:pt>
    <dgm:pt modelId="{5ADF77C1-7FFE-42A0-AE6C-B8B5B3009932}" type="pres">
      <dgm:prSet presAssocID="{494A9BAD-0655-47CE-B957-78A372256AA0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B75153F5-F082-466D-9D46-85B0E3F5B6A3}" type="pres">
      <dgm:prSet presAssocID="{7B445978-1D9D-40C5-AB00-BDE38455B416}" presName="node" presStyleLbl="node1" presStyleIdx="2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52727688-ACC7-4D64-AD49-A826A2317110}" type="presOf" srcId="{F73EC90A-B068-4D6B-A307-7F76A038CB75}" destId="{CCEA0A9A-0677-44C3-9CCB-9FBCFD152201}" srcOrd="1" destOrd="0" presId="urn:microsoft.com/office/officeart/2005/8/layout/radial5"/>
    <dgm:cxn modelId="{64E8E29A-873E-4770-AD42-41DF44232110}" srcId="{A0E11DB8-8D83-444F-A43E-AB8F2E3647B0}" destId="{7B445978-1D9D-40C5-AB00-BDE38455B416}" srcOrd="2" destOrd="0" parTransId="{494A9BAD-0655-47CE-B957-78A372256AA0}" sibTransId="{FCD216F7-B263-4E67-8430-13815862D6AA}"/>
    <dgm:cxn modelId="{F8C51F90-A33A-4CF3-87EF-D39054288974}" type="presOf" srcId="{7491A931-5E17-406A-A26A-9AE89B9A71FC}" destId="{CD6A4A1F-4F73-45FF-8701-495D5B2271EE}" srcOrd="0" destOrd="0" presId="urn:microsoft.com/office/officeart/2005/8/layout/radial5"/>
    <dgm:cxn modelId="{BB0FF57F-5D91-4581-961A-572FACA4A27E}" type="presOf" srcId="{FA0B02C4-D29C-4B37-9287-02433EF8EB32}" destId="{56A0158B-F89A-4EDB-9BC6-766E22596DC1}" srcOrd="0" destOrd="0" presId="urn:microsoft.com/office/officeart/2005/8/layout/radial5"/>
    <dgm:cxn modelId="{E26945CE-2D98-4732-8BBB-22B41A7FADE1}" type="presOf" srcId="{494A9BAD-0655-47CE-B957-78A372256AA0}" destId="{5ADF77C1-7FFE-42A0-AE6C-B8B5B3009932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4F2F018-FEFC-469F-B20F-0039365A0527}" type="presOf" srcId="{494A9BAD-0655-47CE-B957-78A372256AA0}" destId="{C5050FBF-AC8A-4299-8212-FB4AEE980B22}" srcOrd="0" destOrd="0" presId="urn:microsoft.com/office/officeart/2005/8/layout/radial5"/>
    <dgm:cxn modelId="{90D2B8B7-D928-48FA-856A-35DBB89867B7}" type="presOf" srcId="{7B445978-1D9D-40C5-AB00-BDE38455B416}" destId="{B75153F5-F082-466D-9D46-85B0E3F5B6A3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60260FD2-79C4-47C6-A4A0-CEDD93ABD48B}" type="presOf" srcId="{7E1EDFCC-BF59-4663-B3F8-70A4696DBEF7}" destId="{9A39DDA1-0288-486B-A9C9-E72BC4D22589}" srcOrd="0" destOrd="0" presId="urn:microsoft.com/office/officeart/2005/8/layout/radial5"/>
    <dgm:cxn modelId="{8FB0B139-5F39-492B-80C3-F1EE369C0979}" type="presOf" srcId="{7E1EDFCC-BF59-4663-B3F8-70A4696DBEF7}" destId="{FE64D90E-81D4-4730-86E2-709F9335E790}" srcOrd="1" destOrd="0" presId="urn:microsoft.com/office/officeart/2005/8/layout/radial5"/>
    <dgm:cxn modelId="{A05E13CF-D949-45E0-B214-1B6456745E19}" type="presOf" srcId="{4F5DCE7D-05A2-4FFD-8B1A-E0AE522DCB13}" destId="{B6D9FD19-440D-4DEB-A578-0DE876CB38A3}" srcOrd="0" destOrd="0" presId="urn:microsoft.com/office/officeart/2005/8/layout/radial5"/>
    <dgm:cxn modelId="{175D08A8-6A68-476A-8B17-1B7EC928AE3B}" type="presOf" srcId="{A0E11DB8-8D83-444F-A43E-AB8F2E3647B0}" destId="{61897D02-7F1E-4441-96B5-2568FD167AF7}" srcOrd="0" destOrd="0" presId="urn:microsoft.com/office/officeart/2005/8/layout/radial5"/>
    <dgm:cxn modelId="{5D5C35DD-ADF2-4BCF-A99C-852DD2BCB53C}" type="presOf" srcId="{F73EC90A-B068-4D6B-A307-7F76A038CB75}" destId="{7F415745-9F68-49F1-AFB7-15C0084E2315}" srcOrd="0" destOrd="0" presId="urn:microsoft.com/office/officeart/2005/8/layout/radial5"/>
    <dgm:cxn modelId="{0B901E17-79F9-40E9-9485-CF82A534B6DF}" type="presParOf" srcId="{CD6A4A1F-4F73-45FF-8701-495D5B2271EE}" destId="{61897D02-7F1E-4441-96B5-2568FD167AF7}" srcOrd="0" destOrd="0" presId="urn:microsoft.com/office/officeart/2005/8/layout/radial5"/>
    <dgm:cxn modelId="{C8A48C36-3BBD-442D-B253-E5B74B8075CC}" type="presParOf" srcId="{CD6A4A1F-4F73-45FF-8701-495D5B2271EE}" destId="{9A39DDA1-0288-486B-A9C9-E72BC4D22589}" srcOrd="1" destOrd="0" presId="urn:microsoft.com/office/officeart/2005/8/layout/radial5"/>
    <dgm:cxn modelId="{C9E311A5-5779-45D3-82B4-03B7BEE4933C}" type="presParOf" srcId="{9A39DDA1-0288-486B-A9C9-E72BC4D22589}" destId="{FE64D90E-81D4-4730-86E2-709F9335E790}" srcOrd="0" destOrd="0" presId="urn:microsoft.com/office/officeart/2005/8/layout/radial5"/>
    <dgm:cxn modelId="{1F1FF458-C960-4472-8F3E-02ECA7F41CA7}" type="presParOf" srcId="{CD6A4A1F-4F73-45FF-8701-495D5B2271EE}" destId="{56A0158B-F89A-4EDB-9BC6-766E22596DC1}" srcOrd="2" destOrd="0" presId="urn:microsoft.com/office/officeart/2005/8/layout/radial5"/>
    <dgm:cxn modelId="{CB72DDE3-2DC9-4571-9A6C-5D5C3B4A6E81}" type="presParOf" srcId="{CD6A4A1F-4F73-45FF-8701-495D5B2271EE}" destId="{7F415745-9F68-49F1-AFB7-15C0084E2315}" srcOrd="3" destOrd="0" presId="urn:microsoft.com/office/officeart/2005/8/layout/radial5"/>
    <dgm:cxn modelId="{D0B5F12B-FCCD-4878-88F7-18F676E68990}" type="presParOf" srcId="{7F415745-9F68-49F1-AFB7-15C0084E2315}" destId="{CCEA0A9A-0677-44C3-9CCB-9FBCFD152201}" srcOrd="0" destOrd="0" presId="urn:microsoft.com/office/officeart/2005/8/layout/radial5"/>
    <dgm:cxn modelId="{8C0E46EE-9C0F-40C2-8812-C391CC984BB5}" type="presParOf" srcId="{CD6A4A1F-4F73-45FF-8701-495D5B2271EE}" destId="{B6D9FD19-440D-4DEB-A578-0DE876CB38A3}" srcOrd="4" destOrd="0" presId="urn:microsoft.com/office/officeart/2005/8/layout/radial5"/>
    <dgm:cxn modelId="{2ADB322A-0315-4F93-B0D0-260DFA9EC3F7}" type="presParOf" srcId="{CD6A4A1F-4F73-45FF-8701-495D5B2271EE}" destId="{C5050FBF-AC8A-4299-8212-FB4AEE980B22}" srcOrd="5" destOrd="0" presId="urn:microsoft.com/office/officeart/2005/8/layout/radial5"/>
    <dgm:cxn modelId="{DCBC165D-2963-469B-87A9-2AAB2858CFBF}" type="presParOf" srcId="{C5050FBF-AC8A-4299-8212-FB4AEE980B22}" destId="{5ADF77C1-7FFE-42A0-AE6C-B8B5B3009932}" srcOrd="0" destOrd="0" presId="urn:microsoft.com/office/officeart/2005/8/layout/radial5"/>
    <dgm:cxn modelId="{9852D053-6D83-4DB8-84E1-CC3A3DE5C1BF}" type="presParOf" srcId="{CD6A4A1F-4F73-45FF-8701-495D5B2271EE}" destId="{B75153F5-F082-466D-9D46-85B0E3F5B6A3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9.1 Planificar la Gestión de Recurso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9.2 Estimar los recursos de las Actividade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C41D1D0D-BFF1-4E1A-88CA-3B5DCFC677CE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3 Adquirir Recursos</a:t>
          </a:r>
          <a:endParaRPr lang="es-ES" sz="2000" dirty="0"/>
        </a:p>
      </dgm:t>
    </dgm:pt>
    <dgm:pt modelId="{13D6F3BC-638F-498A-8294-03A04BB14011}" type="parTrans" cxnId="{D7C01DE5-B03A-46B8-A55B-D6789434C444}">
      <dgm:prSet/>
      <dgm:spPr/>
      <dgm:t>
        <a:bodyPr/>
        <a:lstStyle/>
        <a:p>
          <a:endParaRPr lang="es-PE"/>
        </a:p>
      </dgm:t>
    </dgm:pt>
    <dgm:pt modelId="{D4BAE36D-ED87-4E1F-A64A-60B98B264956}" type="sibTrans" cxnId="{D7C01DE5-B03A-46B8-A55B-D6789434C444}">
      <dgm:prSet/>
      <dgm:spPr/>
      <dgm:t>
        <a:bodyPr/>
        <a:lstStyle/>
        <a:p>
          <a:endParaRPr lang="es-PE"/>
        </a:p>
      </dgm:t>
    </dgm:pt>
    <dgm:pt modelId="{A395FB29-85EF-4740-9B71-3E9D21D6A671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6 Controlar los Recursos</a:t>
          </a:r>
          <a:endParaRPr lang="es-ES" sz="2000" dirty="0">
            <a:solidFill>
              <a:schemeClr val="tx1"/>
            </a:solidFill>
          </a:endParaRPr>
        </a:p>
      </dgm:t>
    </dgm:pt>
    <dgm:pt modelId="{97847581-699A-46E3-BA3D-055E133FA427}" type="parTrans" cxnId="{1AED2C37-B0F6-468B-BC80-630A06CCE619}">
      <dgm:prSet/>
      <dgm:spPr/>
      <dgm:t>
        <a:bodyPr/>
        <a:lstStyle/>
        <a:p>
          <a:endParaRPr lang="es-PE"/>
        </a:p>
      </dgm:t>
    </dgm:pt>
    <dgm:pt modelId="{AF42B69F-E108-47DB-AF0C-5CBF9F622FCF}" type="sibTrans" cxnId="{1AED2C37-B0F6-468B-BC80-630A06CCE619}">
      <dgm:prSet/>
      <dgm:spPr/>
      <dgm:t>
        <a:bodyPr/>
        <a:lstStyle/>
        <a:p>
          <a:endParaRPr lang="es-PE"/>
        </a:p>
      </dgm:t>
    </dgm:pt>
    <dgm:pt modelId="{1CC32E67-F178-476B-A703-CAECDE155E3B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4FA893F1-57D8-4293-9973-648284BEA3F4}" type="pres">
      <dgm:prSet presAssocID="{11E839E1-B711-434E-A651-6F3C323BC50C}" presName="composite" presStyleCnt="0"/>
      <dgm:spPr/>
    </dgm:pt>
    <dgm:pt modelId="{B08392F9-1B20-4713-9850-C51409AD4643}" type="pres">
      <dgm:prSet presAssocID="{11E839E1-B711-434E-A651-6F3C323BC50C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AFF3E3C-5E2F-46CE-AB4C-2A8CD901C72B}" type="pres">
      <dgm:prSet presAssocID="{11E839E1-B711-434E-A651-6F3C323BC50C}" presName="rect2" presStyleLbl="fgImgPlace1" presStyleIdx="0" presStyleCnt="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2D4EAD39-8B10-4CFC-8183-A65139CE252B}" type="pres">
      <dgm:prSet presAssocID="{799FFC25-7752-45E5-92A7-EB4CA5670BE2}" presName="sibTrans" presStyleCnt="0"/>
      <dgm:spPr/>
    </dgm:pt>
    <dgm:pt modelId="{333E564F-B748-45B5-B253-4FCD57170360}" type="pres">
      <dgm:prSet presAssocID="{A7A835AF-88CF-4494-A3A1-1F24B2B203DD}" presName="composite" presStyleCnt="0"/>
      <dgm:spPr/>
    </dgm:pt>
    <dgm:pt modelId="{3BC4B271-0958-4547-942A-9977CB39C529}" type="pres">
      <dgm:prSet presAssocID="{A7A835AF-88CF-4494-A3A1-1F24B2B203D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810EA87-C7A8-4861-B5D6-59515DAB0AA7}" type="pres">
      <dgm:prSet presAssocID="{A7A835AF-88CF-4494-A3A1-1F24B2B203DD}" presName="rect2" presStyleLbl="f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3FF1A8CE-334A-4DBC-966A-DE9B8A776CDA}" type="pres">
      <dgm:prSet presAssocID="{A9B40887-62FA-496F-B8F9-75E0874CBF63}" presName="sibTrans" presStyleCnt="0"/>
      <dgm:spPr/>
    </dgm:pt>
    <dgm:pt modelId="{33CBA3E9-BE10-4FF2-AD2E-7E0FA50921B3}" type="pres">
      <dgm:prSet presAssocID="{C41D1D0D-BFF1-4E1A-88CA-3B5DCFC677CE}" presName="composite" presStyleCnt="0"/>
      <dgm:spPr/>
    </dgm:pt>
    <dgm:pt modelId="{167CF5A1-C8D6-4473-BB1E-773563D7876A}" type="pres">
      <dgm:prSet presAssocID="{C41D1D0D-BFF1-4E1A-88CA-3B5DCFC677CE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92578A4-F1B5-4575-9AC4-E8047DD59691}" type="pres">
      <dgm:prSet presAssocID="{C41D1D0D-BFF1-4E1A-88CA-3B5DCFC677CE}" presName="rect2" presStyleLbl="f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D0564C69-096B-4764-A6A8-C32E082C81A3}" type="pres">
      <dgm:prSet presAssocID="{D4BAE36D-ED87-4E1F-A64A-60B98B264956}" presName="sibTrans" presStyleCnt="0"/>
      <dgm:spPr/>
    </dgm:pt>
    <dgm:pt modelId="{5FA0A9D8-ED9A-4CE7-AF2B-6AB7E4AE1A8C}" type="pres">
      <dgm:prSet presAssocID="{A395FB29-85EF-4740-9B71-3E9D21D6A671}" presName="composite" presStyleCnt="0"/>
      <dgm:spPr/>
    </dgm:pt>
    <dgm:pt modelId="{31A09533-2FDC-45F6-9208-897C272BE502}" type="pres">
      <dgm:prSet presAssocID="{A395FB29-85EF-4740-9B71-3E9D21D6A671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4A090E3-832B-49C2-A822-CF21BC967BBB}" type="pres">
      <dgm:prSet presAssocID="{A395FB29-85EF-4740-9B71-3E9D21D6A671}" presName="rect2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4D6F3B08-5B93-4000-A5E4-C3B4333A241E}" type="presOf" srcId="{E19B414F-5964-4613-9B63-747F00D38EDC}" destId="{1CC32E67-F178-476B-A703-CAECDE155E3B}" srcOrd="0" destOrd="0" presId="urn:microsoft.com/office/officeart/2008/layout/PictureStrips"/>
    <dgm:cxn modelId="{1AED2C37-B0F6-468B-BC80-630A06CCE619}" srcId="{E19B414F-5964-4613-9B63-747F00D38EDC}" destId="{A395FB29-85EF-4740-9B71-3E9D21D6A671}" srcOrd="3" destOrd="0" parTransId="{97847581-699A-46E3-BA3D-055E133FA427}" sibTransId="{AF42B69F-E108-47DB-AF0C-5CBF9F622FCF}"/>
    <dgm:cxn modelId="{F41D211F-3EC4-4419-AF40-A7B1334C95AC}" type="presOf" srcId="{A395FB29-85EF-4740-9B71-3E9D21D6A671}" destId="{31A09533-2FDC-45F6-9208-897C272BE502}" srcOrd="0" destOrd="0" presId="urn:microsoft.com/office/officeart/2008/layout/PictureStrips"/>
    <dgm:cxn modelId="{5265F851-6C87-41E1-BCDF-A981C6D5CDB9}" type="presOf" srcId="{C41D1D0D-BFF1-4E1A-88CA-3B5DCFC677CE}" destId="{167CF5A1-C8D6-4473-BB1E-773563D7876A}" srcOrd="0" destOrd="0" presId="urn:microsoft.com/office/officeart/2008/layout/PictureStrips"/>
    <dgm:cxn modelId="{D7C01DE5-B03A-46B8-A55B-D6789434C444}" srcId="{E19B414F-5964-4613-9B63-747F00D38EDC}" destId="{C41D1D0D-BFF1-4E1A-88CA-3B5DCFC677CE}" srcOrd="2" destOrd="0" parTransId="{13D6F3BC-638F-498A-8294-03A04BB14011}" sibTransId="{D4BAE36D-ED87-4E1F-A64A-60B98B264956}"/>
    <dgm:cxn modelId="{934DD1A5-5817-4C7D-B2B7-74DE9FDDF8C8}" type="presOf" srcId="{A7A835AF-88CF-4494-A3A1-1F24B2B203DD}" destId="{3BC4B271-0958-4547-942A-9977CB39C529}" srcOrd="0" destOrd="0" presId="urn:microsoft.com/office/officeart/2008/layout/PictureStrips"/>
    <dgm:cxn modelId="{7762CA3B-58BE-480C-85DE-3845213959E8}" type="presOf" srcId="{11E839E1-B711-434E-A651-6F3C323BC50C}" destId="{B08392F9-1B20-4713-9850-C51409AD4643}" srcOrd="0" destOrd="0" presId="urn:microsoft.com/office/officeart/2008/layout/PictureStrips"/>
    <dgm:cxn modelId="{FE8BAEE7-67A0-4FE4-9A37-4EFBED3615B6}" type="presParOf" srcId="{1CC32E67-F178-476B-A703-CAECDE155E3B}" destId="{4FA893F1-57D8-4293-9973-648284BEA3F4}" srcOrd="0" destOrd="0" presId="urn:microsoft.com/office/officeart/2008/layout/PictureStrips"/>
    <dgm:cxn modelId="{F50D3346-B030-4EBE-B9A5-33CD538DD3A2}" type="presParOf" srcId="{4FA893F1-57D8-4293-9973-648284BEA3F4}" destId="{B08392F9-1B20-4713-9850-C51409AD4643}" srcOrd="0" destOrd="0" presId="urn:microsoft.com/office/officeart/2008/layout/PictureStrips"/>
    <dgm:cxn modelId="{395CA523-EBAB-412A-8855-8081A75E5A7E}" type="presParOf" srcId="{4FA893F1-57D8-4293-9973-648284BEA3F4}" destId="{4AFF3E3C-5E2F-46CE-AB4C-2A8CD901C72B}" srcOrd="1" destOrd="0" presId="urn:microsoft.com/office/officeart/2008/layout/PictureStrips"/>
    <dgm:cxn modelId="{1B98035C-677A-468A-BF29-2ADA8CFB6F55}" type="presParOf" srcId="{1CC32E67-F178-476B-A703-CAECDE155E3B}" destId="{2D4EAD39-8B10-4CFC-8183-A65139CE252B}" srcOrd="1" destOrd="0" presId="urn:microsoft.com/office/officeart/2008/layout/PictureStrips"/>
    <dgm:cxn modelId="{13E0CA8E-8C5B-43B8-A2FC-8CC632DB289A}" type="presParOf" srcId="{1CC32E67-F178-476B-A703-CAECDE155E3B}" destId="{333E564F-B748-45B5-B253-4FCD57170360}" srcOrd="2" destOrd="0" presId="urn:microsoft.com/office/officeart/2008/layout/PictureStrips"/>
    <dgm:cxn modelId="{3C8574F2-6470-4191-8253-FA9D98097C74}" type="presParOf" srcId="{333E564F-B748-45B5-B253-4FCD57170360}" destId="{3BC4B271-0958-4547-942A-9977CB39C529}" srcOrd="0" destOrd="0" presId="urn:microsoft.com/office/officeart/2008/layout/PictureStrips"/>
    <dgm:cxn modelId="{7A272AF4-43DE-4176-B708-A67282012175}" type="presParOf" srcId="{333E564F-B748-45B5-B253-4FCD57170360}" destId="{9810EA87-C7A8-4861-B5D6-59515DAB0AA7}" srcOrd="1" destOrd="0" presId="urn:microsoft.com/office/officeart/2008/layout/PictureStrips"/>
    <dgm:cxn modelId="{89EC3A0A-07C5-4A3A-849A-49DAFC25EA28}" type="presParOf" srcId="{1CC32E67-F178-476B-A703-CAECDE155E3B}" destId="{3FF1A8CE-334A-4DBC-966A-DE9B8A776CDA}" srcOrd="3" destOrd="0" presId="urn:microsoft.com/office/officeart/2008/layout/PictureStrips"/>
    <dgm:cxn modelId="{650302FF-9BCA-4B92-87E4-E899CA8D20B2}" type="presParOf" srcId="{1CC32E67-F178-476B-A703-CAECDE155E3B}" destId="{33CBA3E9-BE10-4FF2-AD2E-7E0FA50921B3}" srcOrd="4" destOrd="0" presId="urn:microsoft.com/office/officeart/2008/layout/PictureStrips"/>
    <dgm:cxn modelId="{9E6111F0-DE65-4C96-822E-38040CDAFA35}" type="presParOf" srcId="{33CBA3E9-BE10-4FF2-AD2E-7E0FA50921B3}" destId="{167CF5A1-C8D6-4473-BB1E-773563D7876A}" srcOrd="0" destOrd="0" presId="urn:microsoft.com/office/officeart/2008/layout/PictureStrips"/>
    <dgm:cxn modelId="{56C74B10-6BC8-454D-A2A5-C19F1A5F7137}" type="presParOf" srcId="{33CBA3E9-BE10-4FF2-AD2E-7E0FA50921B3}" destId="{892578A4-F1B5-4575-9AC4-E8047DD59691}" srcOrd="1" destOrd="0" presId="urn:microsoft.com/office/officeart/2008/layout/PictureStrips"/>
    <dgm:cxn modelId="{CE88C298-E068-4921-8ABB-7F4CA9E1D7A7}" type="presParOf" srcId="{1CC32E67-F178-476B-A703-CAECDE155E3B}" destId="{D0564C69-096B-4764-A6A8-C32E082C81A3}" srcOrd="5" destOrd="0" presId="urn:microsoft.com/office/officeart/2008/layout/PictureStrips"/>
    <dgm:cxn modelId="{ECDDEDFC-63E6-4B33-A03D-F27E518A4DC0}" type="presParOf" srcId="{1CC32E67-F178-476B-A703-CAECDE155E3B}" destId="{5FA0A9D8-ED9A-4CE7-AF2B-6AB7E4AE1A8C}" srcOrd="6" destOrd="0" presId="urn:microsoft.com/office/officeart/2008/layout/PictureStrips"/>
    <dgm:cxn modelId="{3253A396-FCB8-451F-B952-9D3863D6338B}" type="presParOf" srcId="{5FA0A9D8-ED9A-4CE7-AF2B-6AB7E4AE1A8C}" destId="{31A09533-2FDC-45F6-9208-897C272BE502}" srcOrd="0" destOrd="0" presId="urn:microsoft.com/office/officeart/2008/layout/PictureStrips"/>
    <dgm:cxn modelId="{48E4DD3E-A3B5-4B9B-9561-9BABE4917BD0}" type="presParOf" srcId="{5FA0A9D8-ED9A-4CE7-AF2B-6AB7E4AE1A8C}" destId="{94A090E3-832B-49C2-A822-CF21BC967BB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Recurs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Coordinar la asignación de los recurso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Definir las personas que participarán en 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Identificar los recursos físicos para el proyecto</a:t>
          </a:r>
          <a:endParaRPr lang="es-ES" sz="16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CF1F729D-5F66-4141-9EA2-F173C2BAA595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18026508-93B9-497B-AA9F-72737731F0DA}" type="pres">
      <dgm:prSet presAssocID="{A0E11DB8-8D83-444F-A43E-AB8F2E3647B0}" presName="centerShape" presStyleLbl="node0" presStyleIdx="0" presStyleCnt="1" custScaleX="113376"/>
      <dgm:spPr/>
      <dgm:t>
        <a:bodyPr/>
        <a:lstStyle/>
        <a:p>
          <a:endParaRPr lang="es-PE"/>
        </a:p>
      </dgm:t>
    </dgm:pt>
    <dgm:pt modelId="{13FEE20E-C06C-4153-8F8B-47D291A6DC2B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3D68F291-39E3-4240-9802-6F88621DB7B8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9737DD92-880D-480C-97D1-CDB1FEAA0FAC}" type="pres">
      <dgm:prSet presAssocID="{FA0B02C4-D29C-4B37-9287-02433EF8EB32}" presName="node" presStyleLbl="node1" presStyleIdx="0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46697FF-EF60-40AB-9E71-667FC061AEF6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C7442838-F869-498A-9D55-8DA1D999D6E0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E93666D-03BA-4B01-BE34-B4B54EC34337}" type="pres">
      <dgm:prSet presAssocID="{4F5DCE7D-05A2-4FFD-8B1A-E0AE522DCB13}" presName="node" presStyleLbl="node1" presStyleIdx="1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0F0A0B23-D1E0-4BC4-A771-51B8B56107EC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53C55916-5640-440D-89BA-181B5C660300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268E9E67-4E42-43DD-8747-1617B496300C}" type="pres">
      <dgm:prSet presAssocID="{5A58FCCA-16E8-4A07-A8AB-5DEDBF7F7338}" presName="node" presStyleLbl="node1" presStyleIdx="2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5657E671-A3C3-49E4-AD09-3B4B7227328C}" type="presOf" srcId="{682D0457-3637-4208-9F57-1B6F8A9D5C34}" destId="{0F0A0B23-D1E0-4BC4-A771-51B8B56107EC}" srcOrd="0" destOrd="0" presId="urn:microsoft.com/office/officeart/2005/8/layout/radial5"/>
    <dgm:cxn modelId="{B7F0393E-0DF2-4486-8975-302592704750}" type="presOf" srcId="{5A58FCCA-16E8-4A07-A8AB-5DEDBF7F7338}" destId="{268E9E67-4E42-43DD-8747-1617B496300C}" srcOrd="0" destOrd="0" presId="urn:microsoft.com/office/officeart/2005/8/layout/radial5"/>
    <dgm:cxn modelId="{0D035C6C-CC79-4845-A83E-E11F39F766B6}" type="presOf" srcId="{A0E11DB8-8D83-444F-A43E-AB8F2E3647B0}" destId="{18026508-93B9-497B-AA9F-72737731F0DA}" srcOrd="0" destOrd="0" presId="urn:microsoft.com/office/officeart/2005/8/layout/radial5"/>
    <dgm:cxn modelId="{646A9651-A820-4C34-B69A-14446B6CFD96}" type="presOf" srcId="{7491A931-5E17-406A-A26A-9AE89B9A71FC}" destId="{CF1F729D-5F66-4141-9EA2-F173C2BAA595}" srcOrd="0" destOrd="0" presId="urn:microsoft.com/office/officeart/2005/8/layout/radial5"/>
    <dgm:cxn modelId="{9E8A7158-FBF9-454D-A8EE-BE7CBD0BBD1B}" type="presOf" srcId="{F73EC90A-B068-4D6B-A307-7F76A038CB75}" destId="{D46697FF-EF60-40AB-9E71-667FC061AEF6}" srcOrd="0" destOrd="0" presId="urn:microsoft.com/office/officeart/2005/8/layout/radial5"/>
    <dgm:cxn modelId="{17751215-C3EC-4C80-9D8C-CD014F3B34DD}" type="presOf" srcId="{7E1EDFCC-BF59-4663-B3F8-70A4696DBEF7}" destId="{3D68F291-39E3-4240-9802-6F88621DB7B8}" srcOrd="1" destOrd="0" presId="urn:microsoft.com/office/officeart/2005/8/layout/radial5"/>
    <dgm:cxn modelId="{68F2FCFB-2703-4B2B-887E-7987B1862F2D}" type="presOf" srcId="{FA0B02C4-D29C-4B37-9287-02433EF8EB32}" destId="{9737DD92-880D-480C-97D1-CDB1FEAA0FAC}" srcOrd="0" destOrd="0" presId="urn:microsoft.com/office/officeart/2005/8/layout/radial5"/>
    <dgm:cxn modelId="{51442F35-9880-4ABB-A445-21B90F2790FD}" type="presOf" srcId="{7E1EDFCC-BF59-4663-B3F8-70A4696DBEF7}" destId="{13FEE20E-C06C-4153-8F8B-47D291A6DC2B}" srcOrd="0" destOrd="0" presId="urn:microsoft.com/office/officeart/2005/8/layout/radial5"/>
    <dgm:cxn modelId="{67B43F73-9BE0-4E44-903A-99320F96A5C9}" type="presOf" srcId="{F73EC90A-B068-4D6B-A307-7F76A038CB75}" destId="{C7442838-F869-498A-9D55-8DA1D999D6E0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28978709-3AB5-4CF9-BD85-1100DC0DF859}" type="presOf" srcId="{682D0457-3637-4208-9F57-1B6F8A9D5C34}" destId="{53C55916-5640-440D-89BA-181B5C660300}" srcOrd="1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AE07B0EF-4CEE-4D99-BE27-1651C9BBC0A4}" type="presOf" srcId="{4F5DCE7D-05A2-4FFD-8B1A-E0AE522DCB13}" destId="{BE93666D-03BA-4B01-BE34-B4B54EC34337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4CD482F4-381D-44DE-AA33-BC1BAFE7A3A8}" type="presParOf" srcId="{CF1F729D-5F66-4141-9EA2-F173C2BAA595}" destId="{18026508-93B9-497B-AA9F-72737731F0DA}" srcOrd="0" destOrd="0" presId="urn:microsoft.com/office/officeart/2005/8/layout/radial5"/>
    <dgm:cxn modelId="{6DFF0C5C-2B03-4967-8354-6377841C8D8E}" type="presParOf" srcId="{CF1F729D-5F66-4141-9EA2-F173C2BAA595}" destId="{13FEE20E-C06C-4153-8F8B-47D291A6DC2B}" srcOrd="1" destOrd="0" presId="urn:microsoft.com/office/officeart/2005/8/layout/radial5"/>
    <dgm:cxn modelId="{821A0C73-9508-474C-BCE3-A7986BBA8E85}" type="presParOf" srcId="{13FEE20E-C06C-4153-8F8B-47D291A6DC2B}" destId="{3D68F291-39E3-4240-9802-6F88621DB7B8}" srcOrd="0" destOrd="0" presId="urn:microsoft.com/office/officeart/2005/8/layout/radial5"/>
    <dgm:cxn modelId="{4587EA53-B130-4030-A3B9-D3434BBCB2AD}" type="presParOf" srcId="{CF1F729D-5F66-4141-9EA2-F173C2BAA595}" destId="{9737DD92-880D-480C-97D1-CDB1FEAA0FAC}" srcOrd="2" destOrd="0" presId="urn:microsoft.com/office/officeart/2005/8/layout/radial5"/>
    <dgm:cxn modelId="{B451A634-5054-4926-B0F5-AEEE9D49B8D6}" type="presParOf" srcId="{CF1F729D-5F66-4141-9EA2-F173C2BAA595}" destId="{D46697FF-EF60-40AB-9E71-667FC061AEF6}" srcOrd="3" destOrd="0" presId="urn:microsoft.com/office/officeart/2005/8/layout/radial5"/>
    <dgm:cxn modelId="{EABE81B1-02D4-4B62-A89B-5566283C18FA}" type="presParOf" srcId="{D46697FF-EF60-40AB-9E71-667FC061AEF6}" destId="{C7442838-F869-498A-9D55-8DA1D999D6E0}" srcOrd="0" destOrd="0" presId="urn:microsoft.com/office/officeart/2005/8/layout/radial5"/>
    <dgm:cxn modelId="{18818183-B5EF-442D-919A-62BA6AB08CCB}" type="presParOf" srcId="{CF1F729D-5F66-4141-9EA2-F173C2BAA595}" destId="{BE93666D-03BA-4B01-BE34-B4B54EC34337}" srcOrd="4" destOrd="0" presId="urn:microsoft.com/office/officeart/2005/8/layout/radial5"/>
    <dgm:cxn modelId="{F681664E-608E-4AF7-B9D8-B2A1DACCBF2C}" type="presParOf" srcId="{CF1F729D-5F66-4141-9EA2-F173C2BAA595}" destId="{0F0A0B23-D1E0-4BC4-A771-51B8B56107EC}" srcOrd="5" destOrd="0" presId="urn:microsoft.com/office/officeart/2005/8/layout/radial5"/>
    <dgm:cxn modelId="{6FE0B237-FF1D-4B2C-945D-ADB25D09FF13}" type="presParOf" srcId="{0F0A0B23-D1E0-4BC4-A771-51B8B56107EC}" destId="{53C55916-5640-440D-89BA-181B5C660300}" srcOrd="0" destOrd="0" presId="urn:microsoft.com/office/officeart/2005/8/layout/radial5"/>
    <dgm:cxn modelId="{B18535FC-2718-497F-B341-055F8B988748}" type="presParOf" srcId="{CF1F729D-5F66-4141-9EA2-F173C2BAA595}" destId="{268E9E67-4E42-43DD-8747-1617B496300C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0.1 Planificar la Gestión de las Comunicacione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0.2 Gestionar las Comunicacione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0.3 Monitorear las Comunicacione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0756CFA2-3DBF-41DC-A067-322B0FC40CCE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FF394BB-E493-49FA-9BE5-7ED6C56ADBD0}" type="pres">
      <dgm:prSet presAssocID="{11E839E1-B711-434E-A651-6F3C323BC50C}" presName="composite" presStyleCnt="0"/>
      <dgm:spPr/>
    </dgm:pt>
    <dgm:pt modelId="{2CEAC465-C98F-4FF2-AF65-F1CB9F88E94A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4A1A50-8525-41ED-A738-AEECE96D4453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CAB1E2E8-BB20-464D-9EEB-7031AD3466F5}" type="pres">
      <dgm:prSet presAssocID="{799FFC25-7752-45E5-92A7-EB4CA5670BE2}" presName="sibTrans" presStyleCnt="0"/>
      <dgm:spPr/>
    </dgm:pt>
    <dgm:pt modelId="{878B449E-9392-4AE7-8216-2599AD09AD7E}" type="pres">
      <dgm:prSet presAssocID="{A7A835AF-88CF-4494-A3A1-1F24B2B203DD}" presName="composite" presStyleCnt="0"/>
      <dgm:spPr/>
    </dgm:pt>
    <dgm:pt modelId="{E83F3579-3F66-44C9-A03B-D6000A72F689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D651A13-F327-49B5-A8B8-D5ECB71B1840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B9665763-C466-47F0-ABB5-706F18D6A0E3}" type="pres">
      <dgm:prSet presAssocID="{A9B40887-62FA-496F-B8F9-75E0874CBF63}" presName="sibTrans" presStyleCnt="0"/>
      <dgm:spPr/>
    </dgm:pt>
    <dgm:pt modelId="{EC43C0CC-3FCB-48DA-A391-F2E5E56E328B}" type="pres">
      <dgm:prSet presAssocID="{BD520DCA-9E45-42B6-A648-911261184BC0}" presName="composite" presStyleCnt="0"/>
      <dgm:spPr/>
    </dgm:pt>
    <dgm:pt modelId="{260B9DEE-66E0-46C7-9A0B-0D00A6EBFE61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8ECEF5D-7437-4FF6-B86E-5C380FC32C33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61CE7DCD-9A6F-481C-9990-254C46773666}" type="presOf" srcId="{E19B414F-5964-4613-9B63-747F00D38EDC}" destId="{0756CFA2-3DBF-41DC-A067-322B0FC40CCE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2BB987EE-B34B-488B-A801-3569BBEC7443}" type="presOf" srcId="{A7A835AF-88CF-4494-A3A1-1F24B2B203DD}" destId="{E83F3579-3F66-44C9-A03B-D6000A72F68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65FE3247-49D9-46A5-9FED-49BDCE9E4B4D}" type="presOf" srcId="{11E839E1-B711-434E-A651-6F3C323BC50C}" destId="{2CEAC465-C98F-4FF2-AF65-F1CB9F88E94A}" srcOrd="0" destOrd="0" presId="urn:microsoft.com/office/officeart/2008/layout/PictureStrips"/>
    <dgm:cxn modelId="{23A06401-C470-4E31-A134-F92BFB8D2C92}" type="presOf" srcId="{BD520DCA-9E45-42B6-A648-911261184BC0}" destId="{260B9DEE-66E0-46C7-9A0B-0D00A6EBFE61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DB997C8B-ED8B-4075-8550-95FD72BB489A}" type="presParOf" srcId="{0756CFA2-3DBF-41DC-A067-322B0FC40CCE}" destId="{DFF394BB-E493-49FA-9BE5-7ED6C56ADBD0}" srcOrd="0" destOrd="0" presId="urn:microsoft.com/office/officeart/2008/layout/PictureStrips"/>
    <dgm:cxn modelId="{813F9E96-6AED-44A9-9585-87FB5F8B17AC}" type="presParOf" srcId="{DFF394BB-E493-49FA-9BE5-7ED6C56ADBD0}" destId="{2CEAC465-C98F-4FF2-AF65-F1CB9F88E94A}" srcOrd="0" destOrd="0" presId="urn:microsoft.com/office/officeart/2008/layout/PictureStrips"/>
    <dgm:cxn modelId="{CE7D01A6-3004-4146-9ACC-FA9EB9EBAFF7}" type="presParOf" srcId="{DFF394BB-E493-49FA-9BE5-7ED6C56ADBD0}" destId="{464A1A50-8525-41ED-A738-AEECE96D4453}" srcOrd="1" destOrd="0" presId="urn:microsoft.com/office/officeart/2008/layout/PictureStrips"/>
    <dgm:cxn modelId="{8E2D59A5-6504-4EE3-ABA6-79D1F3616D2B}" type="presParOf" srcId="{0756CFA2-3DBF-41DC-A067-322B0FC40CCE}" destId="{CAB1E2E8-BB20-464D-9EEB-7031AD3466F5}" srcOrd="1" destOrd="0" presId="urn:microsoft.com/office/officeart/2008/layout/PictureStrips"/>
    <dgm:cxn modelId="{92ACF41F-5234-4ED2-9A2D-A6A292CE112E}" type="presParOf" srcId="{0756CFA2-3DBF-41DC-A067-322B0FC40CCE}" destId="{878B449E-9392-4AE7-8216-2599AD09AD7E}" srcOrd="2" destOrd="0" presId="urn:microsoft.com/office/officeart/2008/layout/PictureStrips"/>
    <dgm:cxn modelId="{57AB4687-8C81-4953-B18C-870C6B1B8E43}" type="presParOf" srcId="{878B449E-9392-4AE7-8216-2599AD09AD7E}" destId="{E83F3579-3F66-44C9-A03B-D6000A72F689}" srcOrd="0" destOrd="0" presId="urn:microsoft.com/office/officeart/2008/layout/PictureStrips"/>
    <dgm:cxn modelId="{F0F0169F-8BD7-4877-8686-2EAECCDB05E0}" type="presParOf" srcId="{878B449E-9392-4AE7-8216-2599AD09AD7E}" destId="{9D651A13-F327-49B5-A8B8-D5ECB71B1840}" srcOrd="1" destOrd="0" presId="urn:microsoft.com/office/officeart/2008/layout/PictureStrips"/>
    <dgm:cxn modelId="{5B4346F5-1177-41CC-A002-F4DC2F576B4D}" type="presParOf" srcId="{0756CFA2-3DBF-41DC-A067-322B0FC40CCE}" destId="{B9665763-C466-47F0-ABB5-706F18D6A0E3}" srcOrd="3" destOrd="0" presId="urn:microsoft.com/office/officeart/2008/layout/PictureStrips"/>
    <dgm:cxn modelId="{DDFE952C-E671-49C4-9B73-6A455B30900D}" type="presParOf" srcId="{0756CFA2-3DBF-41DC-A067-322B0FC40CCE}" destId="{EC43C0CC-3FCB-48DA-A391-F2E5E56E328B}" srcOrd="4" destOrd="0" presId="urn:microsoft.com/office/officeart/2008/layout/PictureStrips"/>
    <dgm:cxn modelId="{2D4E227D-5A81-4038-A775-37ACE3BA5467}" type="presParOf" srcId="{EC43C0CC-3FCB-48DA-A391-F2E5E56E328B}" destId="{260B9DEE-66E0-46C7-9A0B-0D00A6EBFE61}" srcOrd="0" destOrd="0" presId="urn:microsoft.com/office/officeart/2008/layout/PictureStrips"/>
    <dgm:cxn modelId="{11F5F493-3B10-4DB1-80EE-441731578CF8}" type="presParOf" srcId="{EC43C0CC-3FCB-48DA-A391-F2E5E56E328B}" destId="{18ECEF5D-7437-4FF6-B86E-5C380FC32C3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1900" dirty="0" smtClean="0"/>
            <a:t>Gestión de las Comunicaciones</a:t>
          </a:r>
          <a:endParaRPr lang="es-ES" sz="19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dirty="0" smtClean="0"/>
            <a:t>Definir el tipo de información a difundir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500" dirty="0" smtClean="0"/>
            <a:t>Determinar los medios para transmitir la información 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500" dirty="0" smtClean="0"/>
            <a:t>Validar la transmisión de la información </a:t>
          </a:r>
          <a:endParaRPr lang="es-ES" sz="15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53D627B7-CD08-495E-BEBE-BD468A04D267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55C22D16-7812-401C-BDD3-EADA888DAF36}" type="pres">
      <dgm:prSet presAssocID="{A0E11DB8-8D83-444F-A43E-AB8F2E3647B0}" presName="centerShape" presStyleLbl="node0" presStyleIdx="0" presStyleCnt="1" custScaleX="186853" custScaleY="91285" custLinFactNeighborX="0" custLinFactNeighborY="-3563"/>
      <dgm:spPr/>
      <dgm:t>
        <a:bodyPr/>
        <a:lstStyle/>
        <a:p>
          <a:endParaRPr lang="es-PE"/>
        </a:p>
      </dgm:t>
    </dgm:pt>
    <dgm:pt modelId="{3D6FB458-F071-4B2E-A214-7CEC8999AEC4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0FA0B8FA-BEE6-4885-9309-52A0BF1C8A6D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DE68EF7C-BEE4-4ECD-8466-79C2CA971CB0}" type="pres">
      <dgm:prSet presAssocID="{FA0B02C4-D29C-4B37-9287-02433EF8EB32}" presName="node" presStyleLbl="node1" presStyleIdx="0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B40CDDD-6EFD-400F-AF73-9C5CE9FE51BB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D95AAF81-C640-41AB-A38A-468AD96C883C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CD98D26A-04B6-40C4-BC08-FAF401BE7EC9}" type="pres">
      <dgm:prSet presAssocID="{4F5DCE7D-05A2-4FFD-8B1A-E0AE522DCB13}" presName="node" presStyleLbl="node1" presStyleIdx="1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31583FD-8E8B-4875-80AA-A8C38DD7FC80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D0D02D14-14BB-4812-9036-F82BE5C37DF2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67B41C59-2ED6-4517-9F0F-531506176E39}" type="pres">
      <dgm:prSet presAssocID="{5A58FCCA-16E8-4A07-A8AB-5DEDBF7F7338}" presName="node" presStyleLbl="node1" presStyleIdx="2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BA7A0A5F-8126-4807-8D80-407DFE3DB77A}" type="presOf" srcId="{A0E11DB8-8D83-444F-A43E-AB8F2E3647B0}" destId="{55C22D16-7812-401C-BDD3-EADA888DAF36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7760C783-138E-4994-A86A-46A8C03C5566}" type="presOf" srcId="{7E1EDFCC-BF59-4663-B3F8-70A4696DBEF7}" destId="{0FA0B8FA-BEE6-4885-9309-52A0BF1C8A6D}" srcOrd="1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17A70EA4-8565-4D83-A555-46324F65B8F9}" type="presOf" srcId="{682D0457-3637-4208-9F57-1B6F8A9D5C34}" destId="{131583FD-8E8B-4875-80AA-A8C38DD7FC80}" srcOrd="0" destOrd="0" presId="urn:microsoft.com/office/officeart/2005/8/layout/radial5"/>
    <dgm:cxn modelId="{9A65CA31-BC0D-4086-8C49-446DD1CF11F2}" type="presOf" srcId="{4F5DCE7D-05A2-4FFD-8B1A-E0AE522DCB13}" destId="{CD98D26A-04B6-40C4-BC08-FAF401BE7EC9}" srcOrd="0" destOrd="0" presId="urn:microsoft.com/office/officeart/2005/8/layout/radial5"/>
    <dgm:cxn modelId="{81BC1ADC-09F3-4894-BA8C-57A9E3C4C762}" type="presOf" srcId="{7E1EDFCC-BF59-4663-B3F8-70A4696DBEF7}" destId="{3D6FB458-F071-4B2E-A214-7CEC8999AEC4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07545ADB-256F-476D-8E31-6BB6E0189651}" type="presOf" srcId="{682D0457-3637-4208-9F57-1B6F8A9D5C34}" destId="{D0D02D14-14BB-4812-9036-F82BE5C37DF2}" srcOrd="1" destOrd="0" presId="urn:microsoft.com/office/officeart/2005/8/layout/radial5"/>
    <dgm:cxn modelId="{103A0E56-AE45-46B3-9C26-C902E614083E}" type="presOf" srcId="{F73EC90A-B068-4D6B-A307-7F76A038CB75}" destId="{D95AAF81-C640-41AB-A38A-468AD96C883C}" srcOrd="1" destOrd="0" presId="urn:microsoft.com/office/officeart/2005/8/layout/radial5"/>
    <dgm:cxn modelId="{69319776-EE1C-4D6C-A0BF-C0E2B2AB15F2}" type="presOf" srcId="{FA0B02C4-D29C-4B37-9287-02433EF8EB32}" destId="{DE68EF7C-BEE4-4ECD-8466-79C2CA971CB0}" srcOrd="0" destOrd="0" presId="urn:microsoft.com/office/officeart/2005/8/layout/radial5"/>
    <dgm:cxn modelId="{8974B0FC-C0EC-44C7-BFA9-218323CC3681}" type="presOf" srcId="{F73EC90A-B068-4D6B-A307-7F76A038CB75}" destId="{4B40CDDD-6EFD-400F-AF73-9C5CE9FE51BB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14855EFB-09AE-40F8-9841-4A66CBB96B2A}" type="presOf" srcId="{5A58FCCA-16E8-4A07-A8AB-5DEDBF7F7338}" destId="{67B41C59-2ED6-4517-9F0F-531506176E39}" srcOrd="0" destOrd="0" presId="urn:microsoft.com/office/officeart/2005/8/layout/radial5"/>
    <dgm:cxn modelId="{12108E7A-7F89-4FFC-AC65-52108B45750E}" type="presOf" srcId="{7491A931-5E17-406A-A26A-9AE89B9A71FC}" destId="{53D627B7-CD08-495E-BEBE-BD468A04D267}" srcOrd="0" destOrd="0" presId="urn:microsoft.com/office/officeart/2005/8/layout/radial5"/>
    <dgm:cxn modelId="{2E4385B5-7EC1-4A1A-82D2-6D4D2E4A8936}" type="presParOf" srcId="{53D627B7-CD08-495E-BEBE-BD468A04D267}" destId="{55C22D16-7812-401C-BDD3-EADA888DAF36}" srcOrd="0" destOrd="0" presId="urn:microsoft.com/office/officeart/2005/8/layout/radial5"/>
    <dgm:cxn modelId="{FA21691C-A30C-4986-B6E2-80097A5EC900}" type="presParOf" srcId="{53D627B7-CD08-495E-BEBE-BD468A04D267}" destId="{3D6FB458-F071-4B2E-A214-7CEC8999AEC4}" srcOrd="1" destOrd="0" presId="urn:microsoft.com/office/officeart/2005/8/layout/radial5"/>
    <dgm:cxn modelId="{DCAEEC23-735E-4C62-921D-CC5C725E2820}" type="presParOf" srcId="{3D6FB458-F071-4B2E-A214-7CEC8999AEC4}" destId="{0FA0B8FA-BEE6-4885-9309-52A0BF1C8A6D}" srcOrd="0" destOrd="0" presId="urn:microsoft.com/office/officeart/2005/8/layout/radial5"/>
    <dgm:cxn modelId="{82D05AF7-E8B7-4391-BB15-04208BE7D155}" type="presParOf" srcId="{53D627B7-CD08-495E-BEBE-BD468A04D267}" destId="{DE68EF7C-BEE4-4ECD-8466-79C2CA971CB0}" srcOrd="2" destOrd="0" presId="urn:microsoft.com/office/officeart/2005/8/layout/radial5"/>
    <dgm:cxn modelId="{C43403D7-45DA-43BB-BE7A-6EE42D660B3E}" type="presParOf" srcId="{53D627B7-CD08-495E-BEBE-BD468A04D267}" destId="{4B40CDDD-6EFD-400F-AF73-9C5CE9FE51BB}" srcOrd="3" destOrd="0" presId="urn:microsoft.com/office/officeart/2005/8/layout/radial5"/>
    <dgm:cxn modelId="{A30926D5-92DC-405B-8828-CEF609E00C1A}" type="presParOf" srcId="{4B40CDDD-6EFD-400F-AF73-9C5CE9FE51BB}" destId="{D95AAF81-C640-41AB-A38A-468AD96C883C}" srcOrd="0" destOrd="0" presId="urn:microsoft.com/office/officeart/2005/8/layout/radial5"/>
    <dgm:cxn modelId="{52B4A439-3571-4C9D-8152-DEDF1D31E1BE}" type="presParOf" srcId="{53D627B7-CD08-495E-BEBE-BD468A04D267}" destId="{CD98D26A-04B6-40C4-BC08-FAF401BE7EC9}" srcOrd="4" destOrd="0" presId="urn:microsoft.com/office/officeart/2005/8/layout/radial5"/>
    <dgm:cxn modelId="{5DB5E790-FC34-4766-99BB-782CFA711196}" type="presParOf" srcId="{53D627B7-CD08-495E-BEBE-BD468A04D267}" destId="{131583FD-8E8B-4875-80AA-A8C38DD7FC80}" srcOrd="5" destOrd="0" presId="urn:microsoft.com/office/officeart/2005/8/layout/radial5"/>
    <dgm:cxn modelId="{616F4627-0C8D-4B59-990D-AED9AEA8C3DB}" type="presParOf" srcId="{131583FD-8E8B-4875-80AA-A8C38DD7FC80}" destId="{D0D02D14-14BB-4812-9036-F82BE5C37DF2}" srcOrd="0" destOrd="0" presId="urn:microsoft.com/office/officeart/2005/8/layout/radial5"/>
    <dgm:cxn modelId="{76FB00EB-125B-403A-9254-68D6942F1BBB}" type="presParOf" srcId="{53D627B7-CD08-495E-BEBE-BD468A04D267}" destId="{67B41C59-2ED6-4517-9F0F-531506176E39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1.2 Identificar los Riesgo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3 Realizar el Análisis Cualitativo de Riesgo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5 Planificar la Respuesta a los Riesgo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6 Implementar la Respuesta a los Riesgos</a:t>
          </a:r>
          <a:endParaRPr lang="es-ES" sz="2000" dirty="0" smtClean="0">
            <a:effectLst/>
            <a:latin typeface="+mj-lt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1.7 Monitorear los Riesgos</a:t>
          </a:r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2C09C208-BE9C-415B-8C5A-105D55734369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6E26525-604F-4420-B1FF-F61F6302808B}" type="pres">
      <dgm:prSet presAssocID="{11E839E1-B711-434E-A651-6F3C323BC50C}" presName="composite" presStyleCnt="0"/>
      <dgm:spPr/>
    </dgm:pt>
    <dgm:pt modelId="{D87DF8E3-AC4B-454D-BAD0-101B51241103}" type="pres">
      <dgm:prSet presAssocID="{11E839E1-B711-434E-A651-6F3C323BC50C}" presName="rect1" presStyleLbl="tr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5613BB0-31E2-4576-8734-E15C339F289B}" type="pres">
      <dgm:prSet presAssocID="{11E839E1-B711-434E-A651-6F3C323BC50C}" presName="rect2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3348A601-E482-435F-87F7-F0BEE127D570}" type="pres">
      <dgm:prSet presAssocID="{799FFC25-7752-45E5-92A7-EB4CA5670BE2}" presName="sibTrans" presStyleCnt="0"/>
      <dgm:spPr/>
    </dgm:pt>
    <dgm:pt modelId="{12FC4EF7-4E2D-47D4-8197-CD68B9E3DA1F}" type="pres">
      <dgm:prSet presAssocID="{A7A835AF-88CF-4494-A3A1-1F24B2B203DD}" presName="composite" presStyleCnt="0"/>
      <dgm:spPr/>
    </dgm:pt>
    <dgm:pt modelId="{8CBDD941-667B-43F0-8039-C5BA166B3542}" type="pres">
      <dgm:prSet presAssocID="{A7A835AF-88CF-4494-A3A1-1F24B2B203DD}" presName="rect1" presStyleLbl="tr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69C86A3-158F-4AFC-8E25-E22DDA9BE824}" type="pres">
      <dgm:prSet presAssocID="{A7A835AF-88CF-4494-A3A1-1F24B2B203DD}" presName="rect2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65994DE2-9549-4CFF-BA28-73DA90602104}" type="pres">
      <dgm:prSet presAssocID="{A9B40887-62FA-496F-B8F9-75E0874CBF63}" presName="sibTrans" presStyleCnt="0"/>
      <dgm:spPr/>
    </dgm:pt>
    <dgm:pt modelId="{55AD1036-6669-4678-A867-A1EB723F3AA5}" type="pres">
      <dgm:prSet presAssocID="{BD520DCA-9E45-42B6-A648-911261184BC0}" presName="composite" presStyleCnt="0"/>
      <dgm:spPr/>
    </dgm:pt>
    <dgm:pt modelId="{C3D4D6A4-6E12-40A6-B7BA-FC7689006DB2}" type="pres">
      <dgm:prSet presAssocID="{BD520DCA-9E45-42B6-A648-911261184BC0}" presName="rect1" presStyleLbl="tr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2CD18C5-BDEF-4BE7-ABBD-AA26001BC654}" type="pres">
      <dgm:prSet presAssocID="{BD520DCA-9E45-42B6-A648-911261184BC0}" presName="rect2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D138E15-749B-4D2C-99F6-9A40B784B880}" type="pres">
      <dgm:prSet presAssocID="{70553470-8B98-4497-9B4D-7BDCF077F029}" presName="sibTrans" presStyleCnt="0"/>
      <dgm:spPr/>
    </dgm:pt>
    <dgm:pt modelId="{77932E25-ECCF-4589-9C67-51ABCA737150}" type="pres">
      <dgm:prSet presAssocID="{C1CADB95-E106-4253-B580-22EDEBF3844D}" presName="composite" presStyleCnt="0"/>
      <dgm:spPr/>
    </dgm:pt>
    <dgm:pt modelId="{B3D3D4A5-BA01-4EDA-818D-616C8B9C8088}" type="pres">
      <dgm:prSet presAssocID="{C1CADB95-E106-4253-B580-22EDEBF3844D}" presName="rect1" presStyleLbl="tr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B105F45-27AE-4E71-A63A-C32D0B721A3A}" type="pres">
      <dgm:prSet presAssocID="{C1CADB95-E106-4253-B580-22EDEBF3844D}" presName="rect2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EA18148-26CF-4D12-B195-DB8FB81533A0}" type="pres">
      <dgm:prSet presAssocID="{ADAE7442-D5B3-4200-A26A-6A580EECE706}" presName="sibTrans" presStyleCnt="0"/>
      <dgm:spPr/>
    </dgm:pt>
    <dgm:pt modelId="{5DA2BAF7-6C95-4A18-832B-61EE615644E6}" type="pres">
      <dgm:prSet presAssocID="{3BAE70E6-C830-4A72-BF44-31C989F628CC}" presName="composite" presStyleCnt="0"/>
      <dgm:spPr/>
    </dgm:pt>
    <dgm:pt modelId="{E0D5C49E-043D-4E19-AAF6-241C78DD4511}" type="pres">
      <dgm:prSet presAssocID="{3BAE70E6-C830-4A72-BF44-31C989F628CC}" presName="rect1" presStyleLbl="tr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A066CE4-98EA-48EF-B011-FFFBB493C226}" type="pres">
      <dgm:prSet presAssocID="{3BAE70E6-C830-4A72-BF44-31C989F628CC}" presName="rect2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BCCBCCFA-9F2C-4727-A19E-CD6737BC0054}" type="presOf" srcId="{11E839E1-B711-434E-A651-6F3C323BC50C}" destId="{D87DF8E3-AC4B-454D-BAD0-101B51241103}" srcOrd="0" destOrd="0" presId="urn:microsoft.com/office/officeart/2008/layout/PictureStrips"/>
    <dgm:cxn modelId="{000F25EF-D855-4147-A026-F0A7E8B42403}" type="presOf" srcId="{C1CADB95-E106-4253-B580-22EDEBF3844D}" destId="{B3D3D4A5-BA01-4EDA-818D-616C8B9C8088}" srcOrd="0" destOrd="0" presId="urn:microsoft.com/office/officeart/2008/layout/PictureStrips"/>
    <dgm:cxn modelId="{5C67CC38-6EE7-4A90-B470-C64A6D6B303F}" type="presOf" srcId="{A7A835AF-88CF-4494-A3A1-1F24B2B203DD}" destId="{8CBDD941-667B-43F0-8039-C5BA166B3542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174100A2-C635-449B-8E26-4B9EBDBFD741}" type="presOf" srcId="{3BAE70E6-C830-4A72-BF44-31C989F628CC}" destId="{E0D5C49E-043D-4E19-AAF6-241C78DD4511}" srcOrd="0" destOrd="0" presId="urn:microsoft.com/office/officeart/2008/layout/PictureStrips"/>
    <dgm:cxn modelId="{31A4BE0D-CD21-4BEF-B169-45A64C445E85}" type="presOf" srcId="{BD520DCA-9E45-42B6-A648-911261184BC0}" destId="{C3D4D6A4-6E12-40A6-B7BA-FC7689006DB2}" srcOrd="0" destOrd="0" presId="urn:microsoft.com/office/officeart/2008/layout/PictureStrips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8B2064E6-5337-4095-BF41-276577D3F042}" type="presOf" srcId="{E19B414F-5964-4613-9B63-747F00D38EDC}" destId="{2C09C208-BE9C-415B-8C5A-105D55734369}" srcOrd="0" destOrd="0" presId="urn:microsoft.com/office/officeart/2008/layout/PictureStrips"/>
    <dgm:cxn modelId="{0058C87E-FBE4-4530-BE88-5FEB43C2D988}" type="presParOf" srcId="{2C09C208-BE9C-415B-8C5A-105D55734369}" destId="{36E26525-604F-4420-B1FF-F61F6302808B}" srcOrd="0" destOrd="0" presId="urn:microsoft.com/office/officeart/2008/layout/PictureStrips"/>
    <dgm:cxn modelId="{CA580FD5-7D36-431B-994C-C5C8C424FF72}" type="presParOf" srcId="{36E26525-604F-4420-B1FF-F61F6302808B}" destId="{D87DF8E3-AC4B-454D-BAD0-101B51241103}" srcOrd="0" destOrd="0" presId="urn:microsoft.com/office/officeart/2008/layout/PictureStrips"/>
    <dgm:cxn modelId="{ADC098AA-AD54-461C-A2C2-AB9BDD634D98}" type="presParOf" srcId="{36E26525-604F-4420-B1FF-F61F6302808B}" destId="{15613BB0-31E2-4576-8734-E15C339F289B}" srcOrd="1" destOrd="0" presId="urn:microsoft.com/office/officeart/2008/layout/PictureStrips"/>
    <dgm:cxn modelId="{821D772A-8B51-4931-8442-8498BC2487A4}" type="presParOf" srcId="{2C09C208-BE9C-415B-8C5A-105D55734369}" destId="{3348A601-E482-435F-87F7-F0BEE127D570}" srcOrd="1" destOrd="0" presId="urn:microsoft.com/office/officeart/2008/layout/PictureStrips"/>
    <dgm:cxn modelId="{DF367E05-AB61-4B25-87A5-DC11B514932F}" type="presParOf" srcId="{2C09C208-BE9C-415B-8C5A-105D55734369}" destId="{12FC4EF7-4E2D-47D4-8197-CD68B9E3DA1F}" srcOrd="2" destOrd="0" presId="urn:microsoft.com/office/officeart/2008/layout/PictureStrips"/>
    <dgm:cxn modelId="{CC04849B-9664-42E8-B9FD-848513372548}" type="presParOf" srcId="{12FC4EF7-4E2D-47D4-8197-CD68B9E3DA1F}" destId="{8CBDD941-667B-43F0-8039-C5BA166B3542}" srcOrd="0" destOrd="0" presId="urn:microsoft.com/office/officeart/2008/layout/PictureStrips"/>
    <dgm:cxn modelId="{DFCA050F-00CF-49D0-99DD-79A7F5638B7E}" type="presParOf" srcId="{12FC4EF7-4E2D-47D4-8197-CD68B9E3DA1F}" destId="{D69C86A3-158F-4AFC-8E25-E22DDA9BE824}" srcOrd="1" destOrd="0" presId="urn:microsoft.com/office/officeart/2008/layout/PictureStrips"/>
    <dgm:cxn modelId="{45F4533D-2D20-4D37-B02F-F02DC0BFCF15}" type="presParOf" srcId="{2C09C208-BE9C-415B-8C5A-105D55734369}" destId="{65994DE2-9549-4CFF-BA28-73DA90602104}" srcOrd="3" destOrd="0" presId="urn:microsoft.com/office/officeart/2008/layout/PictureStrips"/>
    <dgm:cxn modelId="{CCD9E16E-27BF-4E3C-A0BB-CA7EF2D601E7}" type="presParOf" srcId="{2C09C208-BE9C-415B-8C5A-105D55734369}" destId="{55AD1036-6669-4678-A867-A1EB723F3AA5}" srcOrd="4" destOrd="0" presId="urn:microsoft.com/office/officeart/2008/layout/PictureStrips"/>
    <dgm:cxn modelId="{354ECFA0-37F1-4B76-B773-E86B7DABE99D}" type="presParOf" srcId="{55AD1036-6669-4678-A867-A1EB723F3AA5}" destId="{C3D4D6A4-6E12-40A6-B7BA-FC7689006DB2}" srcOrd="0" destOrd="0" presId="urn:microsoft.com/office/officeart/2008/layout/PictureStrips"/>
    <dgm:cxn modelId="{550C49AA-BDF6-4B27-8D6D-ACBE36579F28}" type="presParOf" srcId="{55AD1036-6669-4678-A867-A1EB723F3AA5}" destId="{B2CD18C5-BDEF-4BE7-ABBD-AA26001BC654}" srcOrd="1" destOrd="0" presId="urn:microsoft.com/office/officeart/2008/layout/PictureStrips"/>
    <dgm:cxn modelId="{232A58BA-225A-4D96-8E75-CF0268ECC29D}" type="presParOf" srcId="{2C09C208-BE9C-415B-8C5A-105D55734369}" destId="{AD138E15-749B-4D2C-99F6-9A40B784B880}" srcOrd="5" destOrd="0" presId="urn:microsoft.com/office/officeart/2008/layout/PictureStrips"/>
    <dgm:cxn modelId="{920B1A22-B649-4A9C-8664-84F78952327F}" type="presParOf" srcId="{2C09C208-BE9C-415B-8C5A-105D55734369}" destId="{77932E25-ECCF-4589-9C67-51ABCA737150}" srcOrd="6" destOrd="0" presId="urn:microsoft.com/office/officeart/2008/layout/PictureStrips"/>
    <dgm:cxn modelId="{9AC6AFA5-80F9-4E28-9210-3CE667F03C3B}" type="presParOf" srcId="{77932E25-ECCF-4589-9C67-51ABCA737150}" destId="{B3D3D4A5-BA01-4EDA-818D-616C8B9C8088}" srcOrd="0" destOrd="0" presId="urn:microsoft.com/office/officeart/2008/layout/PictureStrips"/>
    <dgm:cxn modelId="{22DD4640-9E1B-4825-B768-012426A50209}" type="presParOf" srcId="{77932E25-ECCF-4589-9C67-51ABCA737150}" destId="{3B105F45-27AE-4E71-A63A-C32D0B721A3A}" srcOrd="1" destOrd="0" presId="urn:microsoft.com/office/officeart/2008/layout/PictureStrips"/>
    <dgm:cxn modelId="{6FBB6CB6-C83D-4500-AF93-7764653ADBE1}" type="presParOf" srcId="{2C09C208-BE9C-415B-8C5A-105D55734369}" destId="{EEA18148-26CF-4D12-B195-DB8FB81533A0}" srcOrd="7" destOrd="0" presId="urn:microsoft.com/office/officeart/2008/layout/PictureStrips"/>
    <dgm:cxn modelId="{3EC565CB-0EEA-472F-97EF-7A7AE48B7455}" type="presParOf" srcId="{2C09C208-BE9C-415B-8C5A-105D55734369}" destId="{5DA2BAF7-6C95-4A18-832B-61EE615644E6}" srcOrd="8" destOrd="0" presId="urn:microsoft.com/office/officeart/2008/layout/PictureStrips"/>
    <dgm:cxn modelId="{DC20E039-2BF8-457C-B81F-EEBC5A978FD1}" type="presParOf" srcId="{5DA2BAF7-6C95-4A18-832B-61EE615644E6}" destId="{E0D5C49E-043D-4E19-AAF6-241C78DD4511}" srcOrd="0" destOrd="0" presId="urn:microsoft.com/office/officeart/2008/layout/PictureStrips"/>
    <dgm:cxn modelId="{487C4394-58C5-4318-8B3B-F1BEC0DC5707}" type="presParOf" srcId="{5DA2BAF7-6C95-4A18-832B-61EE615644E6}" destId="{6A066CE4-98EA-48EF-B011-FFFBB493C226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Riesg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dirty="0" smtClean="0"/>
            <a:t>Identificarlos y gestionarlos de manera adecuada 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s-PE" sz="1500" dirty="0" smtClean="0"/>
            <a:t>Definir las respuestas a aplicar en caso se materialicen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8C4C9264-024E-4F93-A037-D781E90B4B8F}">
      <dgm:prSet phldrT="[Texto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s-PE" sz="1500" dirty="0" smtClean="0"/>
            <a:t>Mejorar la capacidad de identificar amenazas y oportunidades</a:t>
          </a:r>
          <a:endParaRPr lang="es-ES" sz="1500" dirty="0"/>
        </a:p>
      </dgm:t>
    </dgm:pt>
    <dgm:pt modelId="{6573CFF9-2F3B-4DA5-8A38-901912181F07}" type="parTrans" cxnId="{C5D3E87E-52B6-4DDF-8125-5CB893449899}">
      <dgm:prSet/>
      <dgm:spPr/>
      <dgm:t>
        <a:bodyPr/>
        <a:lstStyle/>
        <a:p>
          <a:endParaRPr lang="es-PE"/>
        </a:p>
      </dgm:t>
    </dgm:pt>
    <dgm:pt modelId="{CB763401-1C3E-4D6E-BFCA-07DAC45E69E1}" type="sibTrans" cxnId="{C5D3E87E-52B6-4DDF-8125-5CB893449899}">
      <dgm:prSet/>
      <dgm:spPr/>
      <dgm:t>
        <a:bodyPr/>
        <a:lstStyle/>
        <a:p>
          <a:endParaRPr lang="es-PE"/>
        </a:p>
      </dgm:t>
    </dgm:pt>
    <dgm:pt modelId="{C7C4777E-D565-48A0-B176-E3D1669CB999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95EB859-C511-49FC-B084-DB0E537B9E06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PE"/>
        </a:p>
      </dgm:t>
    </dgm:pt>
    <dgm:pt modelId="{FFC911FF-9247-417D-9702-43FCE39161A7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B02E375D-BA25-427E-A81E-092D280EF0DA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7C5405D7-858E-42AB-83A8-4840F894C1D4}" type="pres">
      <dgm:prSet presAssocID="{FA0B02C4-D29C-4B37-9287-02433EF8EB32}" presName="node" presStyleLbl="node1" presStyleIdx="0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6B846C4-D5D0-4DFA-B4B0-9CEACBFFE565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BBA2427A-13BA-4EE2-89D7-778420BE9C4A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17715BC-FB56-42D6-9E4A-CD5E4F40E851}" type="pres">
      <dgm:prSet presAssocID="{4F5DCE7D-05A2-4FFD-8B1A-E0AE522DCB13}" presName="node" presStyleLbl="node1" presStyleIdx="1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7BA6912-D67D-42F2-BA36-7BFFED969624}" type="pres">
      <dgm:prSet presAssocID="{6573CFF9-2F3B-4DA5-8A38-901912181F07}" presName="parTrans" presStyleLbl="sibTrans2D1" presStyleIdx="2" presStyleCnt="3"/>
      <dgm:spPr/>
      <dgm:t>
        <a:bodyPr/>
        <a:lstStyle/>
        <a:p>
          <a:endParaRPr lang="es-PE"/>
        </a:p>
      </dgm:t>
    </dgm:pt>
    <dgm:pt modelId="{A75590B7-4FAC-4962-9A7D-F49B8399C8F4}" type="pres">
      <dgm:prSet presAssocID="{6573CFF9-2F3B-4DA5-8A38-901912181F07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FD2E872A-C85B-4036-A365-32FD35A89C68}" type="pres">
      <dgm:prSet presAssocID="{8C4C9264-024E-4F93-A037-D781E90B4B8F}" presName="node" presStyleLbl="node1" presStyleIdx="2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C5D3E87E-52B6-4DDF-8125-5CB893449899}" srcId="{A0E11DB8-8D83-444F-A43E-AB8F2E3647B0}" destId="{8C4C9264-024E-4F93-A037-D781E90B4B8F}" srcOrd="2" destOrd="0" parTransId="{6573CFF9-2F3B-4DA5-8A38-901912181F07}" sibTransId="{CB763401-1C3E-4D6E-BFCA-07DAC45E69E1}"/>
    <dgm:cxn modelId="{9A3E1028-94E7-452F-92BE-A9D6D699AAA7}" type="presOf" srcId="{7E1EDFCC-BF59-4663-B3F8-70A4696DBEF7}" destId="{FFC911FF-9247-417D-9702-43FCE39161A7}" srcOrd="0" destOrd="0" presId="urn:microsoft.com/office/officeart/2005/8/layout/radial5"/>
    <dgm:cxn modelId="{49457FE8-97D2-4E56-A1FC-AC9F7188E5FD}" type="presOf" srcId="{F73EC90A-B068-4D6B-A307-7F76A038CB75}" destId="{BBA2427A-13BA-4EE2-89D7-778420BE9C4A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B793CADC-27A0-4D29-8C3F-644771C13E25}" type="presOf" srcId="{7491A931-5E17-406A-A26A-9AE89B9A71FC}" destId="{C7C4777E-D565-48A0-B176-E3D1669CB999}" srcOrd="0" destOrd="0" presId="urn:microsoft.com/office/officeart/2005/8/layout/radial5"/>
    <dgm:cxn modelId="{1F3E5D1E-43C3-4406-BA56-6F56E000DF52}" type="presOf" srcId="{F73EC90A-B068-4D6B-A307-7F76A038CB75}" destId="{16B846C4-D5D0-4DFA-B4B0-9CEACBFFE565}" srcOrd="0" destOrd="0" presId="urn:microsoft.com/office/officeart/2005/8/layout/radial5"/>
    <dgm:cxn modelId="{1F5415E7-645D-4EC2-AC23-8E11027B8789}" type="presOf" srcId="{7E1EDFCC-BF59-4663-B3F8-70A4696DBEF7}" destId="{B02E375D-BA25-427E-A81E-092D280EF0DA}" srcOrd="1" destOrd="0" presId="urn:microsoft.com/office/officeart/2005/8/layout/radial5"/>
    <dgm:cxn modelId="{9AD03792-C830-4187-B9A8-01E38D55560A}" type="presOf" srcId="{6573CFF9-2F3B-4DA5-8A38-901912181F07}" destId="{B7BA6912-D67D-42F2-BA36-7BFFED969624}" srcOrd="0" destOrd="0" presId="urn:microsoft.com/office/officeart/2005/8/layout/radial5"/>
    <dgm:cxn modelId="{1327D30C-FA0B-4ABC-AB1A-F6360446FFAE}" type="presOf" srcId="{A0E11DB8-8D83-444F-A43E-AB8F2E3647B0}" destId="{995EB859-C511-49FC-B084-DB0E537B9E06}" srcOrd="0" destOrd="0" presId="urn:microsoft.com/office/officeart/2005/8/layout/radial5"/>
    <dgm:cxn modelId="{B84CBC6D-951D-400A-B14A-2629AF7CCD39}" type="presOf" srcId="{FA0B02C4-D29C-4B37-9287-02433EF8EB32}" destId="{7C5405D7-858E-42AB-83A8-4840F894C1D4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5DA7C1BE-73F1-4AEC-B772-80527AEFAA88}" type="presOf" srcId="{8C4C9264-024E-4F93-A037-D781E90B4B8F}" destId="{FD2E872A-C85B-4036-A365-32FD35A89C68}" srcOrd="0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A994207E-B3AA-4CF0-8CB1-042C8A39790D}" type="presOf" srcId="{6573CFF9-2F3B-4DA5-8A38-901912181F07}" destId="{A75590B7-4FAC-4962-9A7D-F49B8399C8F4}" srcOrd="1" destOrd="0" presId="urn:microsoft.com/office/officeart/2005/8/layout/radial5"/>
    <dgm:cxn modelId="{22C71E00-622E-438E-B307-5A030F4B1874}" type="presOf" srcId="{4F5DCE7D-05A2-4FFD-8B1A-E0AE522DCB13}" destId="{B17715BC-FB56-42D6-9E4A-CD5E4F40E851}" srcOrd="0" destOrd="0" presId="urn:microsoft.com/office/officeart/2005/8/layout/radial5"/>
    <dgm:cxn modelId="{3D1A2C38-3385-41F3-A33F-BA06E88CAF53}" type="presParOf" srcId="{C7C4777E-D565-48A0-B176-E3D1669CB999}" destId="{995EB859-C511-49FC-B084-DB0E537B9E06}" srcOrd="0" destOrd="0" presId="urn:microsoft.com/office/officeart/2005/8/layout/radial5"/>
    <dgm:cxn modelId="{8D9501D0-D745-4F7C-8B17-F3FF519EA91E}" type="presParOf" srcId="{C7C4777E-D565-48A0-B176-E3D1669CB999}" destId="{FFC911FF-9247-417D-9702-43FCE39161A7}" srcOrd="1" destOrd="0" presId="urn:microsoft.com/office/officeart/2005/8/layout/radial5"/>
    <dgm:cxn modelId="{981F0421-4C08-44B2-B01F-DCB2FC66848A}" type="presParOf" srcId="{FFC911FF-9247-417D-9702-43FCE39161A7}" destId="{B02E375D-BA25-427E-A81E-092D280EF0DA}" srcOrd="0" destOrd="0" presId="urn:microsoft.com/office/officeart/2005/8/layout/radial5"/>
    <dgm:cxn modelId="{11138A6A-4592-48FB-8617-B2069765A86E}" type="presParOf" srcId="{C7C4777E-D565-48A0-B176-E3D1669CB999}" destId="{7C5405D7-858E-42AB-83A8-4840F894C1D4}" srcOrd="2" destOrd="0" presId="urn:microsoft.com/office/officeart/2005/8/layout/radial5"/>
    <dgm:cxn modelId="{FFE5786C-B653-455D-8622-2962553C2E03}" type="presParOf" srcId="{C7C4777E-D565-48A0-B176-E3D1669CB999}" destId="{16B846C4-D5D0-4DFA-B4B0-9CEACBFFE565}" srcOrd="3" destOrd="0" presId="urn:microsoft.com/office/officeart/2005/8/layout/radial5"/>
    <dgm:cxn modelId="{A9345689-CEAB-451F-80B0-6FC2DC829013}" type="presParOf" srcId="{16B846C4-D5D0-4DFA-B4B0-9CEACBFFE565}" destId="{BBA2427A-13BA-4EE2-89D7-778420BE9C4A}" srcOrd="0" destOrd="0" presId="urn:microsoft.com/office/officeart/2005/8/layout/radial5"/>
    <dgm:cxn modelId="{E3B342C7-1E17-4C20-9D18-B4A49FC1C0A9}" type="presParOf" srcId="{C7C4777E-D565-48A0-B176-E3D1669CB999}" destId="{B17715BC-FB56-42D6-9E4A-CD5E4F40E851}" srcOrd="4" destOrd="0" presId="urn:microsoft.com/office/officeart/2005/8/layout/radial5"/>
    <dgm:cxn modelId="{1F30BF22-8398-45F4-848A-1B5144C50177}" type="presParOf" srcId="{C7C4777E-D565-48A0-B176-E3D1669CB999}" destId="{B7BA6912-D67D-42F2-BA36-7BFFED969624}" srcOrd="5" destOrd="0" presId="urn:microsoft.com/office/officeart/2005/8/layout/radial5"/>
    <dgm:cxn modelId="{CD750191-325E-4F8F-847A-FA618B182331}" type="presParOf" srcId="{B7BA6912-D67D-42F2-BA36-7BFFED969624}" destId="{A75590B7-4FAC-4962-9A7D-F49B8399C8F4}" srcOrd="0" destOrd="0" presId="urn:microsoft.com/office/officeart/2005/8/layout/radial5"/>
    <dgm:cxn modelId="{AB2C5E68-22B1-491A-8A4C-184B5EEF53E0}" type="presParOf" srcId="{C7C4777E-D565-48A0-B176-E3D1669CB999}" destId="{FD2E872A-C85B-4036-A365-32FD35A89C68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/>
      <dgm:spPr/>
      <dgm:t>
        <a:bodyPr/>
        <a:lstStyle/>
        <a:p>
          <a:r>
            <a:rPr lang="es-PE" dirty="0" smtClean="0"/>
            <a:t>12.1 Planificar la Gestión de las Adquisiciones</a:t>
          </a:r>
          <a:endParaRPr lang="es-ES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/>
        </a:p>
      </dgm:t>
    </dgm:pt>
    <dgm:pt modelId="{A7A835AF-88CF-4494-A3A1-1F24B2B203DD}">
      <dgm:prSet phldrT="[Texto]"/>
      <dgm:spPr/>
      <dgm:t>
        <a:bodyPr/>
        <a:lstStyle/>
        <a:p>
          <a:r>
            <a:rPr lang="es-ES" smtClean="0"/>
            <a:t>12.2 Efectuar las Adquisiciones</a:t>
          </a:r>
          <a:endParaRPr lang="es-ES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/>
        </a:p>
      </dgm:t>
    </dgm:pt>
    <dgm:pt modelId="{BD520DCA-9E45-42B6-A648-911261184BC0}">
      <dgm:prSet phldrT="[Texto]"/>
      <dgm:spPr/>
      <dgm:t>
        <a:bodyPr/>
        <a:lstStyle/>
        <a:p>
          <a:r>
            <a:rPr lang="es-ES" smtClean="0"/>
            <a:t>12.3 Controlar las Adquisiciones</a:t>
          </a:r>
          <a:endParaRPr lang="es-ES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/>
        </a:p>
      </dgm:t>
    </dgm:pt>
    <dgm:pt modelId="{1812E594-7710-4196-97EB-7BFBCEAA2BDD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51F216A7-0A4D-4020-9BC2-08F01EE96650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BECCCC4A-ACD0-4866-AC44-21A6DC1B64FD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2EF71755-DFD3-433E-9A26-0B3FD9571FD2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A564199E-3CEF-4562-B634-A163D6DC53B0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F230F412-4D6F-40E4-A644-364EF6170938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33B01B7D-5FD3-4B90-BF01-E4BA62A5A8CC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50C2EBE-2FD1-423F-9A2E-19B6A5863980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820CB5D5-603B-4E29-B541-BC8EE64D3775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B89BAED2-A21E-4FD3-9604-D38ECA3834E6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77EF7F8C-0D06-4641-93A3-391774858CA5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C76868C-0AC4-4D0A-8679-4304F5739837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138FF049-DF13-47CA-850C-6554FF640F1C}" type="presOf" srcId="{A7A835AF-88CF-4494-A3A1-1F24B2B203DD}" destId="{33B01B7D-5FD3-4B90-BF01-E4BA62A5A8CC}" srcOrd="0" destOrd="0" presId="urn:microsoft.com/office/officeart/2008/layout/PictureStrips"/>
    <dgm:cxn modelId="{D3997BB7-EF9C-418E-B532-2D2463F7907A}" type="presOf" srcId="{BD520DCA-9E45-42B6-A648-911261184BC0}" destId="{77EF7F8C-0D06-4641-93A3-391774858CA5}" srcOrd="0" destOrd="0" presId="urn:microsoft.com/office/officeart/2008/layout/PictureStrips"/>
    <dgm:cxn modelId="{3BC3B472-9E91-44E7-93EB-F8A5C722BA25}" type="presOf" srcId="{11E839E1-B711-434E-A651-6F3C323BC50C}" destId="{BECCCC4A-ACD0-4866-AC44-21A6DC1B64FD}" srcOrd="0" destOrd="0" presId="urn:microsoft.com/office/officeart/2008/layout/PictureStrips"/>
    <dgm:cxn modelId="{B73C5A80-AE87-4F28-9097-0505BB5FAC06}" type="presOf" srcId="{E19B414F-5964-4613-9B63-747F00D38EDC}" destId="{1812E594-7710-4196-97EB-7BFBCEAA2BDD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7E7102BA-8CD2-47AA-B06B-27E7799DF132}" type="presParOf" srcId="{1812E594-7710-4196-97EB-7BFBCEAA2BDD}" destId="{51F216A7-0A4D-4020-9BC2-08F01EE96650}" srcOrd="0" destOrd="0" presId="urn:microsoft.com/office/officeart/2008/layout/PictureStrips"/>
    <dgm:cxn modelId="{7E4FBDB5-3524-4C0D-96F3-45E4FC9DE1C5}" type="presParOf" srcId="{51F216A7-0A4D-4020-9BC2-08F01EE96650}" destId="{BECCCC4A-ACD0-4866-AC44-21A6DC1B64FD}" srcOrd="0" destOrd="0" presId="urn:microsoft.com/office/officeart/2008/layout/PictureStrips"/>
    <dgm:cxn modelId="{ABEA3D04-2D95-4CA8-BFA0-8A6707334962}" type="presParOf" srcId="{51F216A7-0A4D-4020-9BC2-08F01EE96650}" destId="{2EF71755-DFD3-433E-9A26-0B3FD9571FD2}" srcOrd="1" destOrd="0" presId="urn:microsoft.com/office/officeart/2008/layout/PictureStrips"/>
    <dgm:cxn modelId="{2706DE16-B0B6-469F-8F54-5E11BCEC7160}" type="presParOf" srcId="{1812E594-7710-4196-97EB-7BFBCEAA2BDD}" destId="{A564199E-3CEF-4562-B634-A163D6DC53B0}" srcOrd="1" destOrd="0" presId="urn:microsoft.com/office/officeart/2008/layout/PictureStrips"/>
    <dgm:cxn modelId="{D6CE0482-2FBB-47E0-95BB-AC26973B7F6E}" type="presParOf" srcId="{1812E594-7710-4196-97EB-7BFBCEAA2BDD}" destId="{F230F412-4D6F-40E4-A644-364EF6170938}" srcOrd="2" destOrd="0" presId="urn:microsoft.com/office/officeart/2008/layout/PictureStrips"/>
    <dgm:cxn modelId="{99A5B25B-2DC7-45E0-9821-EFFCCE29F72C}" type="presParOf" srcId="{F230F412-4D6F-40E4-A644-364EF6170938}" destId="{33B01B7D-5FD3-4B90-BF01-E4BA62A5A8CC}" srcOrd="0" destOrd="0" presId="urn:microsoft.com/office/officeart/2008/layout/PictureStrips"/>
    <dgm:cxn modelId="{BA1E06F6-511B-42F9-A7F9-BBAE9632B493}" type="presParOf" srcId="{F230F412-4D6F-40E4-A644-364EF6170938}" destId="{A50C2EBE-2FD1-423F-9A2E-19B6A5863980}" srcOrd="1" destOrd="0" presId="urn:microsoft.com/office/officeart/2008/layout/PictureStrips"/>
    <dgm:cxn modelId="{C8299F48-B66C-426F-B260-14C1C468166D}" type="presParOf" srcId="{1812E594-7710-4196-97EB-7BFBCEAA2BDD}" destId="{820CB5D5-603B-4E29-B541-BC8EE64D3775}" srcOrd="3" destOrd="0" presId="urn:microsoft.com/office/officeart/2008/layout/PictureStrips"/>
    <dgm:cxn modelId="{3302676E-3F44-4AB6-994C-98FCEF49B9CC}" type="presParOf" srcId="{1812E594-7710-4196-97EB-7BFBCEAA2BDD}" destId="{B89BAED2-A21E-4FD3-9604-D38ECA3834E6}" srcOrd="4" destOrd="0" presId="urn:microsoft.com/office/officeart/2008/layout/PictureStrips"/>
    <dgm:cxn modelId="{EB45D762-AD27-4CAC-BD27-1BF3872942A8}" type="presParOf" srcId="{B89BAED2-A21E-4FD3-9604-D38ECA3834E6}" destId="{77EF7F8C-0D06-4641-93A3-391774858CA5}" srcOrd="0" destOrd="0" presId="urn:microsoft.com/office/officeart/2008/layout/PictureStrips"/>
    <dgm:cxn modelId="{34AA44F6-15D7-48EB-B850-BB562852C3AB}" type="presParOf" srcId="{B89BAED2-A21E-4FD3-9604-D38ECA3834E6}" destId="{AC76868C-0AC4-4D0A-8679-4304F573983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EF5581-C819-4480-A778-66B360882519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PE"/>
        </a:p>
      </dgm:t>
    </dgm:pt>
    <dgm:pt modelId="{71BBB698-E709-4FF9-94E4-3EE9C9B32CD8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Integración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9F475C9-2E9B-496A-8106-6AB3117C0205}" type="parTrans" cxnId="{4FA7CC10-B7E2-4162-8A3F-7D62271F4420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4020F7E0-B9BC-4A16-9241-BB927A8E89B7}" type="sibTrans" cxnId="{4FA7CC10-B7E2-4162-8A3F-7D62271F4420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FB3C4AC-77F7-47FB-BF80-5ECA81FED533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Cronograma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8035F59-872F-47F9-B480-B922C5C308DB}" type="parTrans" cxnId="{63F0973D-E702-440B-B9F1-0479E654DC48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0BC6E1F-AE24-4BDC-BA9F-1222375AF061}" type="sibTrans" cxnId="{63F0973D-E702-440B-B9F1-0479E654DC48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19C6782-55D5-4713-B1E4-B832F5417FB5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Calidad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8D57ACB-9BA5-4BD9-A493-E830668F3247}" type="parTrans" cxnId="{724D18A1-2D1D-4682-A786-9E84F8F3C09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2673DA0-3B0D-4E5F-8CD5-ED1C9A3A7615}" type="sibTrans" cxnId="{724D18A1-2D1D-4682-A786-9E84F8F3C09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C43813A-C315-4433-94B9-581966F26594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Cost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ACCDA1D-747B-4C39-86C2-C78961DCFF22}" type="parTrans" cxnId="{7093D559-8F2A-4964-ADE9-9F691DC603ED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8E40358-6756-402A-8319-6FCA19C6F00E}" type="sibTrans" cxnId="{7093D559-8F2A-4964-ADE9-9F691DC603ED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C29B46B-4F4F-4043-85C8-572EB14C84AA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ecurs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CF19532-0F2D-41DD-BD61-3FFBF1E10176}" type="parTrans" cxnId="{1DE0553A-8184-48DB-B670-D5F3B71D38C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492B039A-3F7D-4060-8359-FC93B953F391}" type="sibTrans" cxnId="{1DE0553A-8184-48DB-B670-D5F3B71D38C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ED05B1D2-EE22-448C-BDA2-84EC085DB6E9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Comunicacione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BA843EB-8AFE-448B-92D7-44B808FE29DD}" type="parTrans" cxnId="{E48A2D91-1B7E-4933-B3F7-7A8BC9C24E6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D6F6B39F-30BF-4790-A779-DDD53753DD51}" type="sibTrans" cxnId="{E48A2D91-1B7E-4933-B3F7-7A8BC9C24E6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D5EA5AA-C490-4810-B4A8-CEA8CD834C6B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iesg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3178428-A82E-45F7-AE87-4A18C36985D5}" type="parTrans" cxnId="{31AD5C91-9C9B-4075-BDB0-3C3000D6251B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D33434F-07A1-43AC-BD8A-86FBD1FE5C5C}" type="sibTrans" cxnId="{31AD5C91-9C9B-4075-BDB0-3C3000D6251B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1B65C782-A4DC-491F-929A-F93D5D3558E7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Adquisicione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76C43681-C793-40F9-830A-F4A9A575A7DC}" type="parTrans" cxnId="{4723700C-F0C5-468F-9A2B-F27984D72F34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EC36B98-A2CF-4DA9-9E1A-4F9410CC6664}" type="sibTrans" cxnId="{4723700C-F0C5-468F-9A2B-F27984D72F34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4FEBF8B-F343-4173-B2AE-E117778F111A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Alcance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2D4B93A-0E02-431E-BAE5-6AAA4E6D8C12}" type="parTrans" cxnId="{1633861D-FD24-449E-B57F-41DC2B40401E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B1B0051-4B4E-4846-8DB6-D1AF246A82C2}" type="sibTrans" cxnId="{1633861D-FD24-449E-B57F-41DC2B40401E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75B14EF-DFA5-4834-808E-BAA2BE399B22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Interesad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8A2CF51-4633-4D11-883C-4F1D30DB10EE}" type="parTrans" cxnId="{2542B8D5-2E2F-46C2-8BBD-2EA2AEDAB5E9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4601134-52E7-423C-8B3E-B9773EC8C07B}" type="sibTrans" cxnId="{2542B8D5-2E2F-46C2-8BBD-2EA2AEDAB5E9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84177CE-E63B-461F-8265-A24C03F8879C}" type="pres">
      <dgm:prSet presAssocID="{D5EF5581-C819-4480-A778-66B36088251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DCD47089-68FC-4264-86F0-50B329AE17D6}" type="pres">
      <dgm:prSet presAssocID="{71BBB698-E709-4FF9-94E4-3EE9C9B32CD8}" presName="parentText" presStyleLbl="node1" presStyleIdx="0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03AA430-13A2-4B63-ADEC-4B6D256907E1}" type="pres">
      <dgm:prSet presAssocID="{4020F7E0-B9BC-4A16-9241-BB927A8E89B7}" presName="spacer" presStyleCnt="0"/>
      <dgm:spPr/>
    </dgm:pt>
    <dgm:pt modelId="{39FA1045-664A-4721-991E-8E404F10AC0B}" type="pres">
      <dgm:prSet presAssocID="{54FEBF8B-F343-4173-B2AE-E117778F111A}" presName="parentText" presStyleLbl="node1" presStyleIdx="1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BA8415D-2803-4586-8858-1188F78DFFFF}" type="pres">
      <dgm:prSet presAssocID="{6B1B0051-4B4E-4846-8DB6-D1AF246A82C2}" presName="spacer" presStyleCnt="0"/>
      <dgm:spPr/>
    </dgm:pt>
    <dgm:pt modelId="{A7913FC4-C4F5-43F4-A355-C43CD12CDC97}" type="pres">
      <dgm:prSet presAssocID="{FFB3C4AC-77F7-47FB-BF80-5ECA81FED533}" presName="parentText" presStyleLbl="node1" presStyleIdx="2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FB981A6-569C-49A6-988B-C0C896404831}" type="pres">
      <dgm:prSet presAssocID="{60BC6E1F-AE24-4BDC-BA9F-1222375AF061}" presName="spacer" presStyleCnt="0"/>
      <dgm:spPr/>
    </dgm:pt>
    <dgm:pt modelId="{7BEC6C0C-A1FC-48BA-9B19-8036A049FB4F}" type="pres">
      <dgm:prSet presAssocID="{9C43813A-C315-4433-94B9-581966F26594}" presName="parentText" presStyleLbl="node1" presStyleIdx="3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02033276-2CCC-49E4-83A3-B904D8DC0771}" type="pres">
      <dgm:prSet presAssocID="{C8E40358-6756-402A-8319-6FCA19C6F00E}" presName="spacer" presStyleCnt="0"/>
      <dgm:spPr/>
    </dgm:pt>
    <dgm:pt modelId="{BBB14E47-7C30-4BD0-857F-C50FE03CF27D}" type="pres">
      <dgm:prSet presAssocID="{B19C6782-55D5-4713-B1E4-B832F5417FB5}" presName="parentText" presStyleLbl="node1" presStyleIdx="4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8AB46A1-0D74-4D94-AA09-8F9A0E761C75}" type="pres">
      <dgm:prSet presAssocID="{22673DA0-3B0D-4E5F-8CD5-ED1C9A3A7615}" presName="spacer" presStyleCnt="0"/>
      <dgm:spPr/>
    </dgm:pt>
    <dgm:pt modelId="{4AA29A29-1C8E-42B8-BBF4-F8CFE8D46721}" type="pres">
      <dgm:prSet presAssocID="{9C29B46B-4F4F-4043-85C8-572EB14C84AA}" presName="parentText" presStyleLbl="node1" presStyleIdx="5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CF454E8-021B-4783-85CF-9F3A654EBAD3}" type="pres">
      <dgm:prSet presAssocID="{492B039A-3F7D-4060-8359-FC93B953F391}" presName="spacer" presStyleCnt="0"/>
      <dgm:spPr/>
    </dgm:pt>
    <dgm:pt modelId="{B5336994-EDE4-49BF-BE97-FBF3104CD0D2}" type="pres">
      <dgm:prSet presAssocID="{ED05B1D2-EE22-448C-BDA2-84EC085DB6E9}" presName="parentText" presStyleLbl="node1" presStyleIdx="6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B7F9959-810F-4DC2-BAD5-E46C7729F197}" type="pres">
      <dgm:prSet presAssocID="{D6F6B39F-30BF-4790-A779-DDD53753DD51}" presName="spacer" presStyleCnt="0"/>
      <dgm:spPr/>
    </dgm:pt>
    <dgm:pt modelId="{923D4978-C16D-408C-83D4-B308C605F7A2}" type="pres">
      <dgm:prSet presAssocID="{9D5EA5AA-C490-4810-B4A8-CEA8CD834C6B}" presName="parentText" presStyleLbl="node1" presStyleIdx="7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75312CF-0654-423E-B775-063A624E7A66}" type="pres">
      <dgm:prSet presAssocID="{BD33434F-07A1-43AC-BD8A-86FBD1FE5C5C}" presName="spacer" presStyleCnt="0"/>
      <dgm:spPr/>
    </dgm:pt>
    <dgm:pt modelId="{61BC001C-D70E-4CAF-BC44-64C2E2D85B99}" type="pres">
      <dgm:prSet presAssocID="{1B65C782-A4DC-491F-929A-F93D5D3558E7}" presName="parentText" presStyleLbl="node1" presStyleIdx="8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F3B718B-AAAA-4309-B108-CD064B082472}" type="pres">
      <dgm:prSet presAssocID="{FEC36B98-A2CF-4DA9-9E1A-4F9410CC6664}" presName="spacer" presStyleCnt="0"/>
      <dgm:spPr/>
    </dgm:pt>
    <dgm:pt modelId="{E5FC780A-B7A9-42B8-BF8F-FE71C8811FE2}" type="pres">
      <dgm:prSet presAssocID="{875B14EF-DFA5-4834-808E-BAA2BE399B22}" presName="parentText" presStyleLbl="node1" presStyleIdx="9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2CFE3431-034F-464F-BEFF-278590481305}" type="presOf" srcId="{1B65C782-A4DC-491F-929A-F93D5D3558E7}" destId="{61BC001C-D70E-4CAF-BC44-64C2E2D85B99}" srcOrd="0" destOrd="0" presId="urn:microsoft.com/office/officeart/2005/8/layout/vList2"/>
    <dgm:cxn modelId="{1A1C7B57-08CC-492D-914E-AF3D99C1091F}" type="presOf" srcId="{FFB3C4AC-77F7-47FB-BF80-5ECA81FED533}" destId="{A7913FC4-C4F5-43F4-A355-C43CD12CDC97}" srcOrd="0" destOrd="0" presId="urn:microsoft.com/office/officeart/2005/8/layout/vList2"/>
    <dgm:cxn modelId="{215722AB-47D8-47BA-AD28-A934C882F08A}" type="presOf" srcId="{9C43813A-C315-4433-94B9-581966F26594}" destId="{7BEC6C0C-A1FC-48BA-9B19-8036A049FB4F}" srcOrd="0" destOrd="0" presId="urn:microsoft.com/office/officeart/2005/8/layout/vList2"/>
    <dgm:cxn modelId="{6B0EE6DD-4E0F-4F5C-B402-6B7D5CA0D484}" type="presOf" srcId="{54FEBF8B-F343-4173-B2AE-E117778F111A}" destId="{39FA1045-664A-4721-991E-8E404F10AC0B}" srcOrd="0" destOrd="0" presId="urn:microsoft.com/office/officeart/2005/8/layout/vList2"/>
    <dgm:cxn modelId="{FEF89D0B-BCED-444C-96E4-751310B2DA5B}" type="presOf" srcId="{ED05B1D2-EE22-448C-BDA2-84EC085DB6E9}" destId="{B5336994-EDE4-49BF-BE97-FBF3104CD0D2}" srcOrd="0" destOrd="0" presId="urn:microsoft.com/office/officeart/2005/8/layout/vList2"/>
    <dgm:cxn modelId="{E9245D81-B979-4664-80A3-597D7B6555EE}" type="presOf" srcId="{9D5EA5AA-C490-4810-B4A8-CEA8CD834C6B}" destId="{923D4978-C16D-408C-83D4-B308C605F7A2}" srcOrd="0" destOrd="0" presId="urn:microsoft.com/office/officeart/2005/8/layout/vList2"/>
    <dgm:cxn modelId="{7093D559-8F2A-4964-ADE9-9F691DC603ED}" srcId="{D5EF5581-C819-4480-A778-66B360882519}" destId="{9C43813A-C315-4433-94B9-581966F26594}" srcOrd="3" destOrd="0" parTransId="{FACCDA1D-747B-4C39-86C2-C78961DCFF22}" sibTransId="{C8E40358-6756-402A-8319-6FCA19C6F00E}"/>
    <dgm:cxn modelId="{63F0973D-E702-440B-B9F1-0479E654DC48}" srcId="{D5EF5581-C819-4480-A778-66B360882519}" destId="{FFB3C4AC-77F7-47FB-BF80-5ECA81FED533}" srcOrd="2" destOrd="0" parTransId="{68035F59-872F-47F9-B480-B922C5C308DB}" sibTransId="{60BC6E1F-AE24-4BDC-BA9F-1222375AF061}"/>
    <dgm:cxn modelId="{4FA7CC10-B7E2-4162-8A3F-7D62271F4420}" srcId="{D5EF5581-C819-4480-A778-66B360882519}" destId="{71BBB698-E709-4FF9-94E4-3EE9C9B32CD8}" srcOrd="0" destOrd="0" parTransId="{29F475C9-2E9B-496A-8106-6AB3117C0205}" sibTransId="{4020F7E0-B9BC-4A16-9241-BB927A8E89B7}"/>
    <dgm:cxn modelId="{4723700C-F0C5-468F-9A2B-F27984D72F34}" srcId="{D5EF5581-C819-4480-A778-66B360882519}" destId="{1B65C782-A4DC-491F-929A-F93D5D3558E7}" srcOrd="8" destOrd="0" parTransId="{76C43681-C793-40F9-830A-F4A9A575A7DC}" sibTransId="{FEC36B98-A2CF-4DA9-9E1A-4F9410CC6664}"/>
    <dgm:cxn modelId="{724D18A1-2D1D-4682-A786-9E84F8F3C091}" srcId="{D5EF5581-C819-4480-A778-66B360882519}" destId="{B19C6782-55D5-4713-B1E4-B832F5417FB5}" srcOrd="4" destOrd="0" parTransId="{C8D57ACB-9BA5-4BD9-A493-E830668F3247}" sibTransId="{22673DA0-3B0D-4E5F-8CD5-ED1C9A3A7615}"/>
    <dgm:cxn modelId="{23A6A120-B4EB-4A9C-B0AB-1D8A9921054A}" type="presOf" srcId="{B19C6782-55D5-4713-B1E4-B832F5417FB5}" destId="{BBB14E47-7C30-4BD0-857F-C50FE03CF27D}" srcOrd="0" destOrd="0" presId="urn:microsoft.com/office/officeart/2005/8/layout/vList2"/>
    <dgm:cxn modelId="{1DFEDD98-0F7F-4EE3-AB24-E37C0DD3B9F8}" type="presOf" srcId="{71BBB698-E709-4FF9-94E4-3EE9C9B32CD8}" destId="{DCD47089-68FC-4264-86F0-50B329AE17D6}" srcOrd="0" destOrd="0" presId="urn:microsoft.com/office/officeart/2005/8/layout/vList2"/>
    <dgm:cxn modelId="{1DE0553A-8184-48DB-B670-D5F3B71D38C1}" srcId="{D5EF5581-C819-4480-A778-66B360882519}" destId="{9C29B46B-4F4F-4043-85C8-572EB14C84AA}" srcOrd="5" destOrd="0" parTransId="{8CF19532-0F2D-41DD-BD61-3FFBF1E10176}" sibTransId="{492B039A-3F7D-4060-8359-FC93B953F391}"/>
    <dgm:cxn modelId="{1633861D-FD24-449E-B57F-41DC2B40401E}" srcId="{D5EF5581-C819-4480-A778-66B360882519}" destId="{54FEBF8B-F343-4173-B2AE-E117778F111A}" srcOrd="1" destOrd="0" parTransId="{82D4B93A-0E02-431E-BAE5-6AAA4E6D8C12}" sibTransId="{6B1B0051-4B4E-4846-8DB6-D1AF246A82C2}"/>
    <dgm:cxn modelId="{635516CE-B579-4966-A09D-B10535FF9F40}" type="presOf" srcId="{875B14EF-DFA5-4834-808E-BAA2BE399B22}" destId="{E5FC780A-B7A9-42B8-BF8F-FE71C8811FE2}" srcOrd="0" destOrd="0" presId="urn:microsoft.com/office/officeart/2005/8/layout/vList2"/>
    <dgm:cxn modelId="{31AD5C91-9C9B-4075-BDB0-3C3000D6251B}" srcId="{D5EF5581-C819-4480-A778-66B360882519}" destId="{9D5EA5AA-C490-4810-B4A8-CEA8CD834C6B}" srcOrd="7" destOrd="0" parTransId="{23178428-A82E-45F7-AE87-4A18C36985D5}" sibTransId="{BD33434F-07A1-43AC-BD8A-86FBD1FE5C5C}"/>
    <dgm:cxn modelId="{342686AC-0282-407E-B7EF-AF34DC562262}" type="presOf" srcId="{9C29B46B-4F4F-4043-85C8-572EB14C84AA}" destId="{4AA29A29-1C8E-42B8-BBF4-F8CFE8D46721}" srcOrd="0" destOrd="0" presId="urn:microsoft.com/office/officeart/2005/8/layout/vList2"/>
    <dgm:cxn modelId="{E48A2D91-1B7E-4933-B3F7-7A8BC9C24E61}" srcId="{D5EF5581-C819-4480-A778-66B360882519}" destId="{ED05B1D2-EE22-448C-BDA2-84EC085DB6E9}" srcOrd="6" destOrd="0" parTransId="{CBA843EB-8AFE-448B-92D7-44B808FE29DD}" sibTransId="{D6F6B39F-30BF-4790-A779-DDD53753DD51}"/>
    <dgm:cxn modelId="{48083082-5D16-4827-847B-FD01BC960233}" type="presOf" srcId="{D5EF5581-C819-4480-A778-66B360882519}" destId="{584177CE-E63B-461F-8265-A24C03F8879C}" srcOrd="0" destOrd="0" presId="urn:microsoft.com/office/officeart/2005/8/layout/vList2"/>
    <dgm:cxn modelId="{2542B8D5-2E2F-46C2-8BBD-2EA2AEDAB5E9}" srcId="{D5EF5581-C819-4480-A778-66B360882519}" destId="{875B14EF-DFA5-4834-808E-BAA2BE399B22}" srcOrd="9" destOrd="0" parTransId="{B8A2CF51-4633-4D11-883C-4F1D30DB10EE}" sibTransId="{84601134-52E7-423C-8B3E-B9773EC8C07B}"/>
    <dgm:cxn modelId="{5CB0AE0B-BD10-4A21-8195-995A3E263498}" type="presParOf" srcId="{584177CE-E63B-461F-8265-A24C03F8879C}" destId="{DCD47089-68FC-4264-86F0-50B329AE17D6}" srcOrd="0" destOrd="0" presId="urn:microsoft.com/office/officeart/2005/8/layout/vList2"/>
    <dgm:cxn modelId="{08231817-8ED6-497A-9F7A-0779613A2327}" type="presParOf" srcId="{584177CE-E63B-461F-8265-A24C03F8879C}" destId="{B03AA430-13A2-4B63-ADEC-4B6D256907E1}" srcOrd="1" destOrd="0" presId="urn:microsoft.com/office/officeart/2005/8/layout/vList2"/>
    <dgm:cxn modelId="{1663324F-F4B8-4A3A-AB12-A44421C62D5E}" type="presParOf" srcId="{584177CE-E63B-461F-8265-A24C03F8879C}" destId="{39FA1045-664A-4721-991E-8E404F10AC0B}" srcOrd="2" destOrd="0" presId="urn:microsoft.com/office/officeart/2005/8/layout/vList2"/>
    <dgm:cxn modelId="{79728A49-E96A-4508-BAFD-805AA7C0A7F1}" type="presParOf" srcId="{584177CE-E63B-461F-8265-A24C03F8879C}" destId="{DBA8415D-2803-4586-8858-1188F78DFFFF}" srcOrd="3" destOrd="0" presId="urn:microsoft.com/office/officeart/2005/8/layout/vList2"/>
    <dgm:cxn modelId="{64F39870-53F1-4CBA-9EE9-C87B5CE2015A}" type="presParOf" srcId="{584177CE-E63B-461F-8265-A24C03F8879C}" destId="{A7913FC4-C4F5-43F4-A355-C43CD12CDC97}" srcOrd="4" destOrd="0" presId="urn:microsoft.com/office/officeart/2005/8/layout/vList2"/>
    <dgm:cxn modelId="{8D6CC35C-D379-448A-9D0D-51C6089207E3}" type="presParOf" srcId="{584177CE-E63B-461F-8265-A24C03F8879C}" destId="{8FB981A6-569C-49A6-988B-C0C896404831}" srcOrd="5" destOrd="0" presId="urn:microsoft.com/office/officeart/2005/8/layout/vList2"/>
    <dgm:cxn modelId="{082AB887-1CA4-4287-8AFE-6F6EF9CF09AC}" type="presParOf" srcId="{584177CE-E63B-461F-8265-A24C03F8879C}" destId="{7BEC6C0C-A1FC-48BA-9B19-8036A049FB4F}" srcOrd="6" destOrd="0" presId="urn:microsoft.com/office/officeart/2005/8/layout/vList2"/>
    <dgm:cxn modelId="{2EE6BB05-75C8-4E0F-A1E4-3E7F96C54739}" type="presParOf" srcId="{584177CE-E63B-461F-8265-A24C03F8879C}" destId="{02033276-2CCC-49E4-83A3-B904D8DC0771}" srcOrd="7" destOrd="0" presId="urn:microsoft.com/office/officeart/2005/8/layout/vList2"/>
    <dgm:cxn modelId="{44A4CC20-BFB7-4474-8DA4-2FCAE385B75D}" type="presParOf" srcId="{584177CE-E63B-461F-8265-A24C03F8879C}" destId="{BBB14E47-7C30-4BD0-857F-C50FE03CF27D}" srcOrd="8" destOrd="0" presId="urn:microsoft.com/office/officeart/2005/8/layout/vList2"/>
    <dgm:cxn modelId="{7F315F35-6904-48B6-BF00-50DB66C460F2}" type="presParOf" srcId="{584177CE-E63B-461F-8265-A24C03F8879C}" destId="{98AB46A1-0D74-4D94-AA09-8F9A0E761C75}" srcOrd="9" destOrd="0" presId="urn:microsoft.com/office/officeart/2005/8/layout/vList2"/>
    <dgm:cxn modelId="{B25C42C3-5060-4B89-ADEF-6D50D088596A}" type="presParOf" srcId="{584177CE-E63B-461F-8265-A24C03F8879C}" destId="{4AA29A29-1C8E-42B8-BBF4-F8CFE8D46721}" srcOrd="10" destOrd="0" presId="urn:microsoft.com/office/officeart/2005/8/layout/vList2"/>
    <dgm:cxn modelId="{8C2EC38A-A67E-4DCC-AC5C-2F510EA4D808}" type="presParOf" srcId="{584177CE-E63B-461F-8265-A24C03F8879C}" destId="{1CF454E8-021B-4783-85CF-9F3A654EBAD3}" srcOrd="11" destOrd="0" presId="urn:microsoft.com/office/officeart/2005/8/layout/vList2"/>
    <dgm:cxn modelId="{A1000523-3F86-4654-ADB3-836470C7D252}" type="presParOf" srcId="{584177CE-E63B-461F-8265-A24C03F8879C}" destId="{B5336994-EDE4-49BF-BE97-FBF3104CD0D2}" srcOrd="12" destOrd="0" presId="urn:microsoft.com/office/officeart/2005/8/layout/vList2"/>
    <dgm:cxn modelId="{034CBD84-847E-4EF4-97F8-250D5259B7C7}" type="presParOf" srcId="{584177CE-E63B-461F-8265-A24C03F8879C}" destId="{DB7F9959-810F-4DC2-BAD5-E46C7729F197}" srcOrd="13" destOrd="0" presId="urn:microsoft.com/office/officeart/2005/8/layout/vList2"/>
    <dgm:cxn modelId="{E96EF5A4-63A0-4508-B0B5-6AD3801C08F4}" type="presParOf" srcId="{584177CE-E63B-461F-8265-A24C03F8879C}" destId="{923D4978-C16D-408C-83D4-B308C605F7A2}" srcOrd="14" destOrd="0" presId="urn:microsoft.com/office/officeart/2005/8/layout/vList2"/>
    <dgm:cxn modelId="{59A26405-54E5-4D2F-A3BA-175FCD333187}" type="presParOf" srcId="{584177CE-E63B-461F-8265-A24C03F8879C}" destId="{B75312CF-0654-423E-B775-063A624E7A66}" srcOrd="15" destOrd="0" presId="urn:microsoft.com/office/officeart/2005/8/layout/vList2"/>
    <dgm:cxn modelId="{73C12C89-8662-4405-AA96-69D2608EB47A}" type="presParOf" srcId="{584177CE-E63B-461F-8265-A24C03F8879C}" destId="{61BC001C-D70E-4CAF-BC44-64C2E2D85B99}" srcOrd="16" destOrd="0" presId="urn:microsoft.com/office/officeart/2005/8/layout/vList2"/>
    <dgm:cxn modelId="{724BE008-C514-4B23-A4A9-FCD694153702}" type="presParOf" srcId="{584177CE-E63B-461F-8265-A24C03F8879C}" destId="{1F3B718B-AAAA-4309-B108-CD064B082472}" srcOrd="17" destOrd="0" presId="urn:microsoft.com/office/officeart/2005/8/layout/vList2"/>
    <dgm:cxn modelId="{661DA578-00D1-4F15-85B2-1AAACFD392E2}" type="presParOf" srcId="{584177CE-E63B-461F-8265-A24C03F8879C}" destId="{E5FC780A-B7A9-42B8-BF8F-FE71C8811FE2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s Adquisicione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smtClean="0"/>
            <a:t>Documentar si se requiere adquirir un bien o servicio de manera externa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500" dirty="0" smtClean="0"/>
            <a:t>Determinar qué adquirir, de qué manera y cuándo hacerlo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500" dirty="0" smtClean="0"/>
            <a:t>Seleccionar al proveedor idóneo para la adquisición</a:t>
          </a:r>
          <a:endParaRPr lang="es-ES" sz="15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500" dirty="0" smtClean="0"/>
            <a:t>Garantizar que se satisfagan los requisitos del proyecto</a:t>
          </a:r>
          <a:endParaRPr lang="es-ES" sz="1500" dirty="0"/>
        </a:p>
      </dgm:t>
    </dgm:pt>
    <dgm:pt modelId="{96783876-C522-4A3F-83FC-9A3583C8433E}" type="parTrans" cxnId="{B3B48321-A1D7-455D-B8E8-5C72B32AD0A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ES" sz="1500" dirty="0" smtClean="0"/>
            <a:t>Documentar información para futuras referencias</a:t>
          </a:r>
          <a:endParaRPr lang="es-ES" sz="1500" dirty="0"/>
        </a:p>
      </dgm:t>
    </dgm:pt>
    <dgm:pt modelId="{93299474-71FE-4527-91B9-1E42111E9C82}" type="parTrans" cxnId="{667F2443-A223-46AA-8212-4EF721A756CE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 custScaleX="191638" custScaleY="88075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5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5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5" custScaleX="136150" custScaleY="9167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5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5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5" custScaleX="136150" custScaleY="91677" custRadScaleRad="117459" custRadScaleInc="143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5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5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5" custScaleX="136150" custScaleY="91677" custRadScaleRad="111676" custRadScaleInc="-2987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5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5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5" custScaleX="136150" custScaleY="91677" custRadScaleRad="111624" custRadScaleInc="248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87D3E77-49A4-445C-9193-6ACE2533F4E0}" type="pres">
      <dgm:prSet presAssocID="{93299474-71FE-4527-91B9-1E42111E9C82}" presName="parTrans" presStyleLbl="sibTrans2D1" presStyleIdx="4" presStyleCnt="5"/>
      <dgm:spPr/>
      <dgm:t>
        <a:bodyPr/>
        <a:lstStyle/>
        <a:p>
          <a:endParaRPr lang="es-ES"/>
        </a:p>
      </dgm:t>
    </dgm:pt>
    <dgm:pt modelId="{19CD7861-5AB0-4334-8A25-FBD89519C651}" type="pres">
      <dgm:prSet presAssocID="{93299474-71FE-4527-91B9-1E42111E9C82}" presName="connectorText" presStyleLbl="sibTrans2D1" presStyleIdx="4" presStyleCnt="5"/>
      <dgm:spPr/>
      <dgm:t>
        <a:bodyPr/>
        <a:lstStyle/>
        <a:p>
          <a:endParaRPr lang="es-ES"/>
        </a:p>
      </dgm:t>
    </dgm:pt>
    <dgm:pt modelId="{09ECC0F7-25E3-49F0-9222-7E21E72E8490}" type="pres">
      <dgm:prSet presAssocID="{16473467-6A89-4809-87B7-C916CD7DE74F}" presName="node" presStyleLbl="node1" presStyleIdx="4" presStyleCnt="5" custScaleX="136150" custScaleY="91677" custRadScaleRad="124191" custRadScaleInc="-78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24F53D4D-C271-48BC-AA55-1D5332BCF726}" type="presOf" srcId="{93299474-71FE-4527-91B9-1E42111E9C82}" destId="{19CD7861-5AB0-4334-8A25-FBD89519C651}" srcOrd="1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97304891-35DD-4A06-9D65-FE3C0F00CC52}" type="presOf" srcId="{16473467-6A89-4809-87B7-C916CD7DE74F}" destId="{09ECC0F7-25E3-49F0-9222-7E21E72E8490}" srcOrd="0" destOrd="0" presId="urn:microsoft.com/office/officeart/2005/8/layout/radial5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67F2443-A223-46AA-8212-4EF721A756CE}" srcId="{A0E11DB8-8D83-444F-A43E-AB8F2E3647B0}" destId="{16473467-6A89-4809-87B7-C916CD7DE74F}" srcOrd="4" destOrd="0" parTransId="{93299474-71FE-4527-91B9-1E42111E9C82}" sibTransId="{9373144F-27F7-46D3-BD99-161F66288D32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B4FAA8D2-8FD5-4C23-80F2-954ECB6AF4A0}" type="presOf" srcId="{93299474-71FE-4527-91B9-1E42111E9C82}" destId="{487D3E77-49A4-445C-9193-6ACE2533F4E0}" srcOrd="0" destOrd="0" presId="urn:microsoft.com/office/officeart/2005/8/layout/radial5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  <dgm:cxn modelId="{1D80CCFA-9640-411C-B5F2-7825B5467501}" type="presParOf" srcId="{680A94B2-BD67-41BF-AF38-B42BEAC6251A}" destId="{487D3E77-49A4-445C-9193-6ACE2533F4E0}" srcOrd="9" destOrd="0" presId="urn:microsoft.com/office/officeart/2005/8/layout/radial5"/>
    <dgm:cxn modelId="{0179221E-9F57-4221-835D-5AD6B44A718C}" type="presParOf" srcId="{487D3E77-49A4-445C-9193-6ACE2533F4E0}" destId="{19CD7861-5AB0-4334-8A25-FBD89519C651}" srcOrd="0" destOrd="0" presId="urn:microsoft.com/office/officeart/2005/8/layout/radial5"/>
    <dgm:cxn modelId="{1C4E02BC-5F19-45A8-9881-9C921DAB0FAB}" type="presParOf" srcId="{680A94B2-BD67-41BF-AF38-B42BEAC6251A}" destId="{09ECC0F7-25E3-49F0-9222-7E21E72E8490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400" dirty="0" smtClean="0"/>
            <a:t>13.1 Identificar a los Interesados</a:t>
          </a:r>
          <a:endParaRPr lang="es-ES" sz="24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400" dirty="0" smtClean="0"/>
            <a:t>13.3 Gestionar el Involucramiento de los Interesados</a:t>
          </a:r>
          <a:endParaRPr lang="es-ES" sz="24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400" dirty="0" smtClean="0"/>
            <a:t>13.4 Monitorear el Involucramiento de los Interesados</a:t>
          </a:r>
          <a:endParaRPr lang="es-ES" sz="24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/>
        </a:p>
      </dgm:t>
    </dgm:pt>
    <dgm:pt modelId="{215FFB21-C317-4290-AE3D-35CB1686E2BF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6CF4624-D724-483B-9F76-6C0FB5FA388B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6B25C50D-F6A8-4DB1-B5F2-3082015FEEF4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4C95A57-D57D-49E5-8E7B-8DB8F550B3B3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29FB755-C179-4B2F-B44D-F8B1187F2F0F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8A6FAFCE-5D84-4E59-9F09-4264689965D2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DBBDC821-E2F1-4413-ABB9-BE07F4394A36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A766FF5-08EC-4A79-AE5D-2F675B1C173E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44713401-D962-4D3D-B3DD-C57D37CBE731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4E4DC971-58C4-41AE-9DE2-E1D963B92247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1D8E430E-18BA-41FD-98C4-D1794D190B61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9C0213-A4BA-470B-998A-7BDCEB5515DF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DA2EE561-EF81-43B5-97D7-57C36BDA9449}" type="presOf" srcId="{11E839E1-B711-434E-A651-6F3C323BC50C}" destId="{6B25C50D-F6A8-4DB1-B5F2-3082015FEEF4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0044A17D-BFD6-45EE-ACF4-F99B3DF6826A}" type="presOf" srcId="{BD520DCA-9E45-42B6-A648-911261184BC0}" destId="{1D8E430E-18BA-41FD-98C4-D1794D190B61}" srcOrd="0" destOrd="0" presId="urn:microsoft.com/office/officeart/2008/layout/PictureStrips"/>
    <dgm:cxn modelId="{A77AFB8E-A3B3-4F15-9854-B128027CE570}" type="presOf" srcId="{A7A835AF-88CF-4494-A3A1-1F24B2B203DD}" destId="{DBBDC821-E2F1-4413-ABB9-BE07F4394A36}" srcOrd="0" destOrd="0" presId="urn:microsoft.com/office/officeart/2008/layout/PictureStrips"/>
    <dgm:cxn modelId="{A1A08183-A938-4C11-87A0-9EB138765809}" type="presOf" srcId="{E19B414F-5964-4613-9B63-747F00D38EDC}" destId="{215FFB21-C317-4290-AE3D-35CB1686E2BF}" srcOrd="0" destOrd="0" presId="urn:microsoft.com/office/officeart/2008/layout/PictureStrips"/>
    <dgm:cxn modelId="{A40BDFD7-A431-4B25-A4FE-62C46D373B5B}" type="presParOf" srcId="{215FFB21-C317-4290-AE3D-35CB1686E2BF}" destId="{46CF4624-D724-483B-9F76-6C0FB5FA388B}" srcOrd="0" destOrd="0" presId="urn:microsoft.com/office/officeart/2008/layout/PictureStrips"/>
    <dgm:cxn modelId="{CF8B2926-CFE5-4C14-946C-574B61AB091B}" type="presParOf" srcId="{46CF4624-D724-483B-9F76-6C0FB5FA388B}" destId="{6B25C50D-F6A8-4DB1-B5F2-3082015FEEF4}" srcOrd="0" destOrd="0" presId="urn:microsoft.com/office/officeart/2008/layout/PictureStrips"/>
    <dgm:cxn modelId="{274060FF-046A-45C0-AA7F-A5A4D8856C97}" type="presParOf" srcId="{46CF4624-D724-483B-9F76-6C0FB5FA388B}" destId="{D4C95A57-D57D-49E5-8E7B-8DB8F550B3B3}" srcOrd="1" destOrd="0" presId="urn:microsoft.com/office/officeart/2008/layout/PictureStrips"/>
    <dgm:cxn modelId="{D1CA60A0-7E95-4806-9C4D-D555E346C7FA}" type="presParOf" srcId="{215FFB21-C317-4290-AE3D-35CB1686E2BF}" destId="{229FB755-C179-4B2F-B44D-F8B1187F2F0F}" srcOrd="1" destOrd="0" presId="urn:microsoft.com/office/officeart/2008/layout/PictureStrips"/>
    <dgm:cxn modelId="{128C4B1A-BD85-47DD-9E62-771D35767681}" type="presParOf" srcId="{215FFB21-C317-4290-AE3D-35CB1686E2BF}" destId="{8A6FAFCE-5D84-4E59-9F09-4264689965D2}" srcOrd="2" destOrd="0" presId="urn:microsoft.com/office/officeart/2008/layout/PictureStrips"/>
    <dgm:cxn modelId="{8C893376-133A-4039-B17C-78AAC1390397}" type="presParOf" srcId="{8A6FAFCE-5D84-4E59-9F09-4264689965D2}" destId="{DBBDC821-E2F1-4413-ABB9-BE07F4394A36}" srcOrd="0" destOrd="0" presId="urn:microsoft.com/office/officeart/2008/layout/PictureStrips"/>
    <dgm:cxn modelId="{DA5B9D27-64B0-4F97-AE08-E2050FD9E40D}" type="presParOf" srcId="{8A6FAFCE-5D84-4E59-9F09-4264689965D2}" destId="{8A766FF5-08EC-4A79-AE5D-2F675B1C173E}" srcOrd="1" destOrd="0" presId="urn:microsoft.com/office/officeart/2008/layout/PictureStrips"/>
    <dgm:cxn modelId="{387E6226-EB31-4F3E-B8F6-FBA7C1475B08}" type="presParOf" srcId="{215FFB21-C317-4290-AE3D-35CB1686E2BF}" destId="{44713401-D962-4D3D-B3DD-C57D37CBE731}" srcOrd="3" destOrd="0" presId="urn:microsoft.com/office/officeart/2008/layout/PictureStrips"/>
    <dgm:cxn modelId="{B943B4D4-8C7F-4B8C-8293-F785CCBD100D}" type="presParOf" srcId="{215FFB21-C317-4290-AE3D-35CB1686E2BF}" destId="{4E4DC971-58C4-41AE-9DE2-E1D963B92247}" srcOrd="4" destOrd="0" presId="urn:microsoft.com/office/officeart/2008/layout/PictureStrips"/>
    <dgm:cxn modelId="{0C6F2AE7-12F5-4024-A6E7-6BF973E63FC7}" type="presParOf" srcId="{4E4DC971-58C4-41AE-9DE2-E1D963B92247}" destId="{1D8E430E-18BA-41FD-98C4-D1794D190B61}" srcOrd="0" destOrd="0" presId="urn:microsoft.com/office/officeart/2008/layout/PictureStrips"/>
    <dgm:cxn modelId="{F653CF0A-0169-4EDB-8CBE-1F1B47A29902}" type="presParOf" srcId="{4E4DC971-58C4-41AE-9DE2-E1D963B92247}" destId="{999C0213-A4BA-470B-998A-7BDCEB5515DF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Interesad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ES" sz="1600" dirty="0" smtClean="0"/>
            <a:t>Identificar a los interesado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Identificar el enfoque para su involucramien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600" dirty="0" smtClean="0"/>
            <a:t>Fomentar su participación adecuada</a:t>
          </a:r>
          <a:endParaRPr lang="es-ES" sz="1600" dirty="0"/>
        </a:p>
      </dgm:t>
    </dgm:pt>
    <dgm:pt modelId="{96783876-C522-4A3F-83FC-9A3583C8433E}" type="parTrans" cxnId="{B3B48321-A1D7-455D-B8E8-5C72B32AD0A4}">
      <dgm:prSet/>
      <dgm:spPr/>
      <dgm:t>
        <a:bodyPr/>
        <a:lstStyle/>
        <a:p>
          <a:endParaRPr lang="es-ES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/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PE" sz="1600" dirty="0" smtClean="0"/>
            <a:t>Minimizar la resistencia</a:t>
          </a:r>
          <a:endParaRPr lang="es-ES" sz="1600" dirty="0"/>
        </a:p>
      </dgm:t>
    </dgm:pt>
    <dgm:pt modelId="{93299474-71FE-4527-91B9-1E42111E9C82}" type="parTrans" cxnId="{667F2443-A223-46AA-8212-4EF721A756CE}">
      <dgm:prSet/>
      <dgm:spPr/>
      <dgm:t>
        <a:bodyPr/>
        <a:lstStyle/>
        <a:p>
          <a:endParaRPr lang="es-ES"/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/>
        </a:p>
      </dgm:t>
    </dgm:pt>
    <dgm:pt modelId="{2C8938E8-59DD-4AEF-95A5-C7AE95BF8EA4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ABF2BF0-302B-4069-9789-BABE364B6A3D}" type="pres">
      <dgm:prSet presAssocID="{A0E11DB8-8D83-444F-A43E-AB8F2E3647B0}" presName="centerShape" presStyleLbl="node0" presStyleIdx="0" presStyleCnt="1" custScaleX="170992"/>
      <dgm:spPr/>
      <dgm:t>
        <a:bodyPr/>
        <a:lstStyle/>
        <a:p>
          <a:endParaRPr lang="es-PE"/>
        </a:p>
      </dgm:t>
    </dgm:pt>
    <dgm:pt modelId="{CD048DFE-E07E-4D62-834E-6BBE8B70EEA5}" type="pres">
      <dgm:prSet presAssocID="{7E1EDFCC-BF59-4663-B3F8-70A4696DBEF7}" presName="parTrans" presStyleLbl="sibTrans2D1" presStyleIdx="0" presStyleCnt="4"/>
      <dgm:spPr/>
      <dgm:t>
        <a:bodyPr/>
        <a:lstStyle/>
        <a:p>
          <a:endParaRPr lang="es-PE"/>
        </a:p>
      </dgm:t>
    </dgm:pt>
    <dgm:pt modelId="{3B4880AC-438A-4777-908D-E9EC0322886F}" type="pres">
      <dgm:prSet presAssocID="{7E1EDFCC-BF59-4663-B3F8-70A4696DBEF7}" presName="connectorText" presStyleLbl="sibTrans2D1" presStyleIdx="0" presStyleCnt="4"/>
      <dgm:spPr/>
      <dgm:t>
        <a:bodyPr/>
        <a:lstStyle/>
        <a:p>
          <a:endParaRPr lang="es-PE"/>
        </a:p>
      </dgm:t>
    </dgm:pt>
    <dgm:pt modelId="{F125C48D-3505-4144-8F7A-D84EF606A656}" type="pres">
      <dgm:prSet presAssocID="{FA0B02C4-D29C-4B37-9287-02433EF8EB32}" presName="node" presStyleLbl="node1" presStyleIdx="0" presStyleCnt="4" custScaleX="146148" custScaleY="92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AFC2BEA-A1FD-4EB8-8D07-4F5D222EC696}" type="pres">
      <dgm:prSet presAssocID="{F73EC90A-B068-4D6B-A307-7F76A038CB75}" presName="parTrans" presStyleLbl="sibTrans2D1" presStyleIdx="1" presStyleCnt="4"/>
      <dgm:spPr/>
      <dgm:t>
        <a:bodyPr/>
        <a:lstStyle/>
        <a:p>
          <a:endParaRPr lang="es-PE"/>
        </a:p>
      </dgm:t>
    </dgm:pt>
    <dgm:pt modelId="{210EDBBC-EF5C-4E00-8964-335B81E39919}" type="pres">
      <dgm:prSet presAssocID="{F73EC90A-B068-4D6B-A307-7F76A038CB75}" presName="connectorText" presStyleLbl="sibTrans2D1" presStyleIdx="1" presStyleCnt="4"/>
      <dgm:spPr/>
      <dgm:t>
        <a:bodyPr/>
        <a:lstStyle/>
        <a:p>
          <a:endParaRPr lang="es-PE"/>
        </a:p>
      </dgm:t>
    </dgm:pt>
    <dgm:pt modelId="{BED99FD9-4B01-41E0-862D-311139D3C54B}" type="pres">
      <dgm:prSet presAssocID="{4F5DCE7D-05A2-4FFD-8B1A-E0AE522DCB13}" presName="node" presStyleLbl="node1" presStyleIdx="1" presStyleCnt="4" custScaleX="152985" custScaleY="92115" custRadScaleRad="12359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5FC7BA7-9F5D-45E1-AA87-9AFD8F7DC613}" type="pres">
      <dgm:prSet presAssocID="{96783876-C522-4A3F-83FC-9A3583C8433E}" presName="parTrans" presStyleLbl="sibTrans2D1" presStyleIdx="2" presStyleCnt="4"/>
      <dgm:spPr/>
      <dgm:t>
        <a:bodyPr/>
        <a:lstStyle/>
        <a:p>
          <a:endParaRPr lang="es-PE"/>
        </a:p>
      </dgm:t>
    </dgm:pt>
    <dgm:pt modelId="{C97618A2-CBF0-48C0-BCD2-DC538AB6B824}" type="pres">
      <dgm:prSet presAssocID="{96783876-C522-4A3F-83FC-9A3583C8433E}" presName="connectorText" presStyleLbl="sibTrans2D1" presStyleIdx="2" presStyleCnt="4"/>
      <dgm:spPr/>
      <dgm:t>
        <a:bodyPr/>
        <a:lstStyle/>
        <a:p>
          <a:endParaRPr lang="es-PE"/>
        </a:p>
      </dgm:t>
    </dgm:pt>
    <dgm:pt modelId="{86AE5293-68E7-494C-A2AB-F69C52546D0F}" type="pres">
      <dgm:prSet presAssocID="{C222A31F-C376-4811-9559-2D8CAB421AA3}" presName="node" presStyleLbl="node1" presStyleIdx="2" presStyleCnt="4" custScaleX="146148" custScaleY="92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8C26F11-6B59-4DF0-8853-6702DCF584D7}" type="pres">
      <dgm:prSet presAssocID="{93299474-71FE-4527-91B9-1E42111E9C82}" presName="parTrans" presStyleLbl="sibTrans2D1" presStyleIdx="3" presStyleCnt="4"/>
      <dgm:spPr/>
      <dgm:t>
        <a:bodyPr/>
        <a:lstStyle/>
        <a:p>
          <a:endParaRPr lang="es-PE"/>
        </a:p>
      </dgm:t>
    </dgm:pt>
    <dgm:pt modelId="{7BE63847-890D-40A3-AFDF-6107A9C79BD1}" type="pres">
      <dgm:prSet presAssocID="{93299474-71FE-4527-91B9-1E42111E9C82}" presName="connectorText" presStyleLbl="sibTrans2D1" presStyleIdx="3" presStyleCnt="4"/>
      <dgm:spPr/>
      <dgm:t>
        <a:bodyPr/>
        <a:lstStyle/>
        <a:p>
          <a:endParaRPr lang="es-PE"/>
        </a:p>
      </dgm:t>
    </dgm:pt>
    <dgm:pt modelId="{75FE15A8-7FBF-48EE-93D8-E5448368DEAA}" type="pres">
      <dgm:prSet presAssocID="{16473467-6A89-4809-87B7-C916CD7DE74F}" presName="node" presStyleLbl="node1" presStyleIdx="3" presStyleCnt="4" custScaleX="152985" custScaleY="92115" custRadScaleRad="12629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8A8D9DD5-7B88-431C-8E88-A9DCD1E3FFEC}" type="presOf" srcId="{C222A31F-C376-4811-9559-2D8CAB421AA3}" destId="{86AE5293-68E7-494C-A2AB-F69C52546D0F}" srcOrd="0" destOrd="0" presId="urn:microsoft.com/office/officeart/2005/8/layout/radial5"/>
    <dgm:cxn modelId="{B3B48321-A1D7-455D-B8E8-5C72B32AD0A4}" srcId="{A0E11DB8-8D83-444F-A43E-AB8F2E3647B0}" destId="{C222A31F-C376-4811-9559-2D8CAB421AA3}" srcOrd="2" destOrd="0" parTransId="{96783876-C522-4A3F-83FC-9A3583C8433E}" sibTransId="{3040B46A-5E96-4BEA-AACB-15BDFA90DC77}"/>
    <dgm:cxn modelId="{B7B769D8-29D8-4CFC-8EAB-A418A6F7687D}" type="presOf" srcId="{93299474-71FE-4527-91B9-1E42111E9C82}" destId="{7BE63847-890D-40A3-AFDF-6107A9C79BD1}" srcOrd="1" destOrd="0" presId="urn:microsoft.com/office/officeart/2005/8/layout/radial5"/>
    <dgm:cxn modelId="{36D3A4DF-5205-4B72-BFCE-7D8779D34714}" type="presOf" srcId="{4F5DCE7D-05A2-4FFD-8B1A-E0AE522DCB13}" destId="{BED99FD9-4B01-41E0-862D-311139D3C54B}" srcOrd="0" destOrd="0" presId="urn:microsoft.com/office/officeart/2005/8/layout/radial5"/>
    <dgm:cxn modelId="{C27F07D1-67BA-4E75-9320-BD7CFD3777A6}" type="presOf" srcId="{96783876-C522-4A3F-83FC-9A3583C8433E}" destId="{C97618A2-CBF0-48C0-BCD2-DC538AB6B824}" srcOrd="1" destOrd="0" presId="urn:microsoft.com/office/officeart/2005/8/layout/radial5"/>
    <dgm:cxn modelId="{8F9BDB71-F2B9-4FF7-A80B-C8E42ABA6AB8}" type="presOf" srcId="{16473467-6A89-4809-87B7-C916CD7DE74F}" destId="{75FE15A8-7FBF-48EE-93D8-E5448368DEAA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10A138F-A179-45ED-AAD8-E3958A28374A}" type="presOf" srcId="{93299474-71FE-4527-91B9-1E42111E9C82}" destId="{E8C26F11-6B59-4DF0-8853-6702DCF584D7}" srcOrd="0" destOrd="0" presId="urn:microsoft.com/office/officeart/2005/8/layout/radial5"/>
    <dgm:cxn modelId="{F2DF5A29-6CAD-48F5-92AF-460440EEA76D}" type="presOf" srcId="{F73EC90A-B068-4D6B-A307-7F76A038CB75}" destId="{FAFC2BEA-A1FD-4EB8-8D07-4F5D222EC696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393EA7E2-5F98-4E84-9B89-CA8580FA8C17}" type="presOf" srcId="{7E1EDFCC-BF59-4663-B3F8-70A4696DBEF7}" destId="{CD048DFE-E07E-4D62-834E-6BBE8B70EEA5}" srcOrd="0" destOrd="0" presId="urn:microsoft.com/office/officeart/2005/8/layout/radial5"/>
    <dgm:cxn modelId="{6D9B7454-8463-4D75-8A9D-53A9019B2443}" type="presOf" srcId="{7491A931-5E17-406A-A26A-9AE89B9A71FC}" destId="{2C8938E8-59DD-4AEF-95A5-C7AE95BF8EA4}" srcOrd="0" destOrd="0" presId="urn:microsoft.com/office/officeart/2005/8/layout/radial5"/>
    <dgm:cxn modelId="{E6C3E62E-C4EC-4846-82AC-61C27FBE731F}" type="presOf" srcId="{FA0B02C4-D29C-4B37-9287-02433EF8EB32}" destId="{F125C48D-3505-4144-8F7A-D84EF606A656}" srcOrd="0" destOrd="0" presId="urn:microsoft.com/office/officeart/2005/8/layout/radial5"/>
    <dgm:cxn modelId="{667F2443-A223-46AA-8212-4EF721A756CE}" srcId="{A0E11DB8-8D83-444F-A43E-AB8F2E3647B0}" destId="{16473467-6A89-4809-87B7-C916CD7DE74F}" srcOrd="3" destOrd="0" parTransId="{93299474-71FE-4527-91B9-1E42111E9C82}" sibTransId="{9373144F-27F7-46D3-BD99-161F66288D32}"/>
    <dgm:cxn modelId="{261D733F-E868-489A-873A-B0C9CE16D5D5}" type="presOf" srcId="{A0E11DB8-8D83-444F-A43E-AB8F2E3647B0}" destId="{9ABF2BF0-302B-4069-9789-BABE364B6A3D}" srcOrd="0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0E0DC0DD-492F-48B7-AD4A-EF078AA1D242}" type="presOf" srcId="{7E1EDFCC-BF59-4663-B3F8-70A4696DBEF7}" destId="{3B4880AC-438A-4777-908D-E9EC0322886F}" srcOrd="1" destOrd="0" presId="urn:microsoft.com/office/officeart/2005/8/layout/radial5"/>
    <dgm:cxn modelId="{30FE3344-63AC-4106-9319-B4B6975A3ACF}" type="presOf" srcId="{F73EC90A-B068-4D6B-A307-7F76A038CB75}" destId="{210EDBBC-EF5C-4E00-8964-335B81E39919}" srcOrd="1" destOrd="0" presId="urn:microsoft.com/office/officeart/2005/8/layout/radial5"/>
    <dgm:cxn modelId="{FFE6C4DD-C28C-4F8F-8E4F-C1D52A63AB2C}" type="presOf" srcId="{96783876-C522-4A3F-83FC-9A3583C8433E}" destId="{85FC7BA7-9F5D-45E1-AA87-9AFD8F7DC613}" srcOrd="0" destOrd="0" presId="urn:microsoft.com/office/officeart/2005/8/layout/radial5"/>
    <dgm:cxn modelId="{678F3C9A-408C-41CB-8C1F-17BE7213FC12}" type="presParOf" srcId="{2C8938E8-59DD-4AEF-95A5-C7AE95BF8EA4}" destId="{9ABF2BF0-302B-4069-9789-BABE364B6A3D}" srcOrd="0" destOrd="0" presId="urn:microsoft.com/office/officeart/2005/8/layout/radial5"/>
    <dgm:cxn modelId="{AAEF37C2-81DB-42EC-B153-C6096247A9B9}" type="presParOf" srcId="{2C8938E8-59DD-4AEF-95A5-C7AE95BF8EA4}" destId="{CD048DFE-E07E-4D62-834E-6BBE8B70EEA5}" srcOrd="1" destOrd="0" presId="urn:microsoft.com/office/officeart/2005/8/layout/radial5"/>
    <dgm:cxn modelId="{95FC9E80-C03E-4201-815E-8C5E98646B63}" type="presParOf" srcId="{CD048DFE-E07E-4D62-834E-6BBE8B70EEA5}" destId="{3B4880AC-438A-4777-908D-E9EC0322886F}" srcOrd="0" destOrd="0" presId="urn:microsoft.com/office/officeart/2005/8/layout/radial5"/>
    <dgm:cxn modelId="{FB30C829-7845-433E-B37E-56565D4ED724}" type="presParOf" srcId="{2C8938E8-59DD-4AEF-95A5-C7AE95BF8EA4}" destId="{F125C48D-3505-4144-8F7A-D84EF606A656}" srcOrd="2" destOrd="0" presId="urn:microsoft.com/office/officeart/2005/8/layout/radial5"/>
    <dgm:cxn modelId="{03EC27C0-6D8E-47C2-A835-6AA464E6FD37}" type="presParOf" srcId="{2C8938E8-59DD-4AEF-95A5-C7AE95BF8EA4}" destId="{FAFC2BEA-A1FD-4EB8-8D07-4F5D222EC696}" srcOrd="3" destOrd="0" presId="urn:microsoft.com/office/officeart/2005/8/layout/radial5"/>
    <dgm:cxn modelId="{793D6A26-E545-4724-A8D9-736149D243DE}" type="presParOf" srcId="{FAFC2BEA-A1FD-4EB8-8D07-4F5D222EC696}" destId="{210EDBBC-EF5C-4E00-8964-335B81E39919}" srcOrd="0" destOrd="0" presId="urn:microsoft.com/office/officeart/2005/8/layout/radial5"/>
    <dgm:cxn modelId="{4E867757-FDD6-416A-852C-E0B8044E08E9}" type="presParOf" srcId="{2C8938E8-59DD-4AEF-95A5-C7AE95BF8EA4}" destId="{BED99FD9-4B01-41E0-862D-311139D3C54B}" srcOrd="4" destOrd="0" presId="urn:microsoft.com/office/officeart/2005/8/layout/radial5"/>
    <dgm:cxn modelId="{26398C49-BF24-4FA9-BA7B-F8A872F5A053}" type="presParOf" srcId="{2C8938E8-59DD-4AEF-95A5-C7AE95BF8EA4}" destId="{85FC7BA7-9F5D-45E1-AA87-9AFD8F7DC613}" srcOrd="5" destOrd="0" presId="urn:microsoft.com/office/officeart/2005/8/layout/radial5"/>
    <dgm:cxn modelId="{449DD962-15E5-449D-865F-4CCCC2EB74A0}" type="presParOf" srcId="{85FC7BA7-9F5D-45E1-AA87-9AFD8F7DC613}" destId="{C97618A2-CBF0-48C0-BCD2-DC538AB6B824}" srcOrd="0" destOrd="0" presId="urn:microsoft.com/office/officeart/2005/8/layout/radial5"/>
    <dgm:cxn modelId="{206BD4C9-0346-48B4-9DD0-5AF52F3245E0}" type="presParOf" srcId="{2C8938E8-59DD-4AEF-95A5-C7AE95BF8EA4}" destId="{86AE5293-68E7-494C-A2AB-F69C52546D0F}" srcOrd="6" destOrd="0" presId="urn:microsoft.com/office/officeart/2005/8/layout/radial5"/>
    <dgm:cxn modelId="{2AD419EF-D4CD-453E-A1D5-41C49B9F4542}" type="presParOf" srcId="{2C8938E8-59DD-4AEF-95A5-C7AE95BF8EA4}" destId="{E8C26F11-6B59-4DF0-8853-6702DCF584D7}" srcOrd="7" destOrd="0" presId="urn:microsoft.com/office/officeart/2005/8/layout/radial5"/>
    <dgm:cxn modelId="{9EDB6B5E-EA9C-4072-BBB4-052FEBDE8420}" type="presParOf" srcId="{E8C26F11-6B59-4DF0-8853-6702DCF584D7}" destId="{7BE63847-890D-40A3-AFDF-6107A9C79BD1}" srcOrd="0" destOrd="0" presId="urn:microsoft.com/office/officeart/2005/8/layout/radial5"/>
    <dgm:cxn modelId="{83C201DB-B4C1-46E7-AE34-E4507B07B7B9}" type="presParOf" srcId="{2C8938E8-59DD-4AEF-95A5-C7AE95BF8EA4}" destId="{75FE15A8-7FBF-48EE-93D8-E5448368DEAA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1 Desarrollar el Acta de Constitución del Proyecto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2 </a:t>
          </a:r>
          <a:r>
            <a:rPr lang="es-PE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Desarrollar el Plan para la Dirección del Proyecto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3 Dirigir y Gestionar el Trabajo del Proyecto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4 Gestionar el Conocimiento del Proyecto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5 Monitorear y Controlar el Trabajo del Proyecto</a:t>
          </a:r>
          <a:endParaRPr lang="es-ES" sz="2000" dirty="0"/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AE9CAA74-1943-424F-BF90-A426505B9B4A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6 Realizar el Control Integrado de Cambios</a:t>
          </a:r>
          <a:endParaRPr lang="es-ES" sz="2000" dirty="0"/>
        </a:p>
      </dgm:t>
    </dgm:pt>
    <dgm:pt modelId="{5A621643-84A9-4E41-A641-849BBC7C1A6E}" type="parTrans" cxnId="{253DA7FA-FE8A-4048-A4DC-B3C993B29087}">
      <dgm:prSet/>
      <dgm:spPr/>
      <dgm:t>
        <a:bodyPr/>
        <a:lstStyle/>
        <a:p>
          <a:endParaRPr lang="es-ES" sz="2000"/>
        </a:p>
      </dgm:t>
    </dgm:pt>
    <dgm:pt modelId="{F6BE36D3-648D-4EDC-A41A-71528355684D}" type="sibTrans" cxnId="{253DA7FA-FE8A-4048-A4DC-B3C993B29087}">
      <dgm:prSet/>
      <dgm:spPr/>
      <dgm:t>
        <a:bodyPr/>
        <a:lstStyle/>
        <a:p>
          <a:endParaRPr lang="es-ES" sz="2000"/>
        </a:p>
      </dgm:t>
    </dgm:pt>
    <dgm:pt modelId="{1E22C401-12B5-4A05-8491-A5993A898425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7 Cerrar el Proyecto o Fase</a:t>
          </a:r>
          <a:endParaRPr lang="es-ES" sz="2000" dirty="0"/>
        </a:p>
      </dgm:t>
    </dgm:pt>
    <dgm:pt modelId="{645AF296-38EB-457F-BFC1-AE2A1BC90FAD}" type="parTrans" cxnId="{C81C312A-E77F-439C-A70C-ECB4BBE345D0}">
      <dgm:prSet/>
      <dgm:spPr/>
      <dgm:t>
        <a:bodyPr/>
        <a:lstStyle/>
        <a:p>
          <a:endParaRPr lang="es-ES" sz="2000"/>
        </a:p>
      </dgm:t>
    </dgm:pt>
    <dgm:pt modelId="{59DBCD14-636F-4928-A431-C7D8C0986AE6}" type="sibTrans" cxnId="{C81C312A-E77F-439C-A70C-ECB4BBE345D0}">
      <dgm:prSet/>
      <dgm:spPr/>
      <dgm:t>
        <a:bodyPr/>
        <a:lstStyle/>
        <a:p>
          <a:endParaRPr lang="es-ES" sz="2000"/>
        </a:p>
      </dgm:t>
    </dgm:pt>
    <dgm:pt modelId="{215FFB21-C317-4290-AE3D-35CB1686E2BF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6CF4624-D724-483B-9F76-6C0FB5FA388B}" type="pres">
      <dgm:prSet presAssocID="{11E839E1-B711-434E-A651-6F3C323BC50C}" presName="composite" presStyleCnt="0"/>
      <dgm:spPr/>
    </dgm:pt>
    <dgm:pt modelId="{6B25C50D-F6A8-4DB1-B5F2-3082015FEEF4}" type="pres">
      <dgm:prSet presAssocID="{11E839E1-B711-434E-A651-6F3C323BC50C}" presName="rect1" presStyleLbl="tr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4C95A57-D57D-49E5-8E7B-8DB8F550B3B3}" type="pres">
      <dgm:prSet presAssocID="{11E839E1-B711-434E-A651-6F3C323BC50C}" presName="rect2" presStyleLbl="fgImgPlace1" presStyleIdx="0" presStyleCnt="7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29FB755-C179-4B2F-B44D-F8B1187F2F0F}" type="pres">
      <dgm:prSet presAssocID="{799FFC25-7752-45E5-92A7-EB4CA5670BE2}" presName="sibTrans" presStyleCnt="0"/>
      <dgm:spPr/>
    </dgm:pt>
    <dgm:pt modelId="{8A6FAFCE-5D84-4E59-9F09-4264689965D2}" type="pres">
      <dgm:prSet presAssocID="{A7A835AF-88CF-4494-A3A1-1F24B2B203DD}" presName="composite" presStyleCnt="0"/>
      <dgm:spPr/>
    </dgm:pt>
    <dgm:pt modelId="{DBBDC821-E2F1-4413-ABB9-BE07F4394A36}" type="pres">
      <dgm:prSet presAssocID="{A7A835AF-88CF-4494-A3A1-1F24B2B203DD}" presName="rect1" presStyleLbl="trAlignAcc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A766FF5-08EC-4A79-AE5D-2F675B1C173E}" type="pres">
      <dgm:prSet presAssocID="{A7A835AF-88CF-4494-A3A1-1F24B2B203DD}" presName="rect2" presStyleLbl="fgImgPlace1" presStyleIdx="1" presStyleCnt="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44713401-D962-4D3D-B3DD-C57D37CBE731}" type="pres">
      <dgm:prSet presAssocID="{A9B40887-62FA-496F-B8F9-75E0874CBF63}" presName="sibTrans" presStyleCnt="0"/>
      <dgm:spPr/>
    </dgm:pt>
    <dgm:pt modelId="{4E4DC971-58C4-41AE-9DE2-E1D963B92247}" type="pres">
      <dgm:prSet presAssocID="{BD520DCA-9E45-42B6-A648-911261184BC0}" presName="composite" presStyleCnt="0"/>
      <dgm:spPr/>
    </dgm:pt>
    <dgm:pt modelId="{1D8E430E-18BA-41FD-98C4-D1794D190B61}" type="pres">
      <dgm:prSet presAssocID="{BD520DCA-9E45-42B6-A648-911261184BC0}" presName="rect1" presStyleLbl="trAlignAcc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9C0213-A4BA-470B-998A-7BDCEB5515DF}" type="pres">
      <dgm:prSet presAssocID="{BD520DCA-9E45-42B6-A648-911261184BC0}" presName="rect2" presStyleLbl="fgImgPlace1" presStyleIdx="2" presStyleCnt="7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54225934-192F-4700-8FE4-4B8EE3D4A1A3}" type="pres">
      <dgm:prSet presAssocID="{70553470-8B98-4497-9B4D-7BDCF077F029}" presName="sibTrans" presStyleCnt="0"/>
      <dgm:spPr/>
    </dgm:pt>
    <dgm:pt modelId="{DD4BBF90-BDA3-481F-A759-0B3B0B08214B}" type="pres">
      <dgm:prSet presAssocID="{C1CADB95-E106-4253-B580-22EDEBF3844D}" presName="composite" presStyleCnt="0"/>
      <dgm:spPr/>
    </dgm:pt>
    <dgm:pt modelId="{CE13785E-03DE-4547-B184-FFEEA9BEE969}" type="pres">
      <dgm:prSet presAssocID="{C1CADB95-E106-4253-B580-22EDEBF3844D}" presName="rect1" presStyleLbl="trAlignAcc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E862193-2A57-471F-912D-D802DB715CDE}" type="pres">
      <dgm:prSet presAssocID="{C1CADB95-E106-4253-B580-22EDEBF3844D}" presName="rect2" presStyleLbl="fgImgPlace1" presStyleIdx="3" presStyleCnt="7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D1758D1-B7B7-4637-9E39-FBECB8388AB3}" type="pres">
      <dgm:prSet presAssocID="{ADAE7442-D5B3-4200-A26A-6A580EECE706}" presName="sibTrans" presStyleCnt="0"/>
      <dgm:spPr/>
    </dgm:pt>
    <dgm:pt modelId="{0C544651-8DCD-42DA-890B-B6CD777582BE}" type="pres">
      <dgm:prSet presAssocID="{3BAE70E6-C830-4A72-BF44-31C989F628CC}" presName="composite" presStyleCnt="0"/>
      <dgm:spPr/>
    </dgm:pt>
    <dgm:pt modelId="{4B181D68-D754-4847-9A99-E3F22064120B}" type="pres">
      <dgm:prSet presAssocID="{3BAE70E6-C830-4A72-BF44-31C989F628CC}" presName="rect1" presStyleLbl="trAlignAcc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30189D0-110A-4556-94A6-873F3C16DF54}" type="pres">
      <dgm:prSet presAssocID="{3BAE70E6-C830-4A72-BF44-31C989F628CC}" presName="rect2" presStyleLbl="fgImgPlace1" presStyleIdx="4" presStyleCnt="7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F6AD8B2-C8A2-43B0-B972-BB4520BBF2F3}" type="pres">
      <dgm:prSet presAssocID="{86F082C1-4439-4E6F-8D51-32C95AB0732A}" presName="sibTrans" presStyleCnt="0"/>
      <dgm:spPr/>
    </dgm:pt>
    <dgm:pt modelId="{DCAFD36E-3236-4CBE-9A05-2FD4709999EB}" type="pres">
      <dgm:prSet presAssocID="{AE9CAA74-1943-424F-BF90-A426505B9B4A}" presName="composite" presStyleCnt="0"/>
      <dgm:spPr/>
    </dgm:pt>
    <dgm:pt modelId="{4543CCC0-4B59-4F3E-99C4-39DBBA794CDB}" type="pres">
      <dgm:prSet presAssocID="{AE9CAA74-1943-424F-BF90-A426505B9B4A}" presName="rect1" presStyleLbl="trAlignAcc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17DAA2C-04DE-4274-8F57-8B4249E0C725}" type="pres">
      <dgm:prSet presAssocID="{AE9CAA74-1943-424F-BF90-A426505B9B4A}" presName="rect2" presStyleLbl="fgImgPlace1" presStyleIdx="5" presStyleCnt="7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3D28F81-E273-46A5-AC3E-06F8B17886E4}" type="pres">
      <dgm:prSet presAssocID="{F6BE36D3-648D-4EDC-A41A-71528355684D}" presName="sibTrans" presStyleCnt="0"/>
      <dgm:spPr/>
    </dgm:pt>
    <dgm:pt modelId="{CB5F6E82-9F4E-4734-93A5-2BC0C687F675}" type="pres">
      <dgm:prSet presAssocID="{1E22C401-12B5-4A05-8491-A5993A898425}" presName="composite" presStyleCnt="0"/>
      <dgm:spPr/>
    </dgm:pt>
    <dgm:pt modelId="{4B9CBBD8-4CC7-4F59-8A61-6DF53738CF87}" type="pres">
      <dgm:prSet presAssocID="{1E22C401-12B5-4A05-8491-A5993A898425}" presName="rect1" presStyleLbl="trAlignAcc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AAA19A8-8B88-463B-B5FD-C48821581AC9}" type="pres">
      <dgm:prSet presAssocID="{1E22C401-12B5-4A05-8491-A5993A898425}" presName="rect2" presStyleLbl="fgImgPlace1" presStyleIdx="6" presStyleCnt="7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C81C312A-E77F-439C-A70C-ECB4BBE345D0}" srcId="{E19B414F-5964-4613-9B63-747F00D38EDC}" destId="{1E22C401-12B5-4A05-8491-A5993A898425}" srcOrd="6" destOrd="0" parTransId="{645AF296-38EB-457F-BFC1-AE2A1BC90FAD}" sibTransId="{59DBCD14-636F-4928-A431-C7D8C0986AE6}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669F5D73-C05B-43B2-90CC-CD850DFE73C3}" type="presOf" srcId="{A7A835AF-88CF-4494-A3A1-1F24B2B203DD}" destId="{DBBDC821-E2F1-4413-ABB9-BE07F4394A36}" srcOrd="0" destOrd="0" presId="urn:microsoft.com/office/officeart/2008/layout/PictureStrips"/>
    <dgm:cxn modelId="{4B5BF1A7-AE87-444E-8C72-7F9871D40FC8}" type="presOf" srcId="{C1CADB95-E106-4253-B580-22EDEBF3844D}" destId="{CE13785E-03DE-4547-B184-FFEEA9BEE96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3DAF8293-B6CF-4A98-85CD-A8BD8BBF1694}" type="presOf" srcId="{E19B414F-5964-4613-9B63-747F00D38EDC}" destId="{215FFB21-C317-4290-AE3D-35CB1686E2BF}" srcOrd="0" destOrd="0" presId="urn:microsoft.com/office/officeart/2008/layout/PictureStrips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C91C843D-C3FD-4F7F-B465-BD7D90238BF0}" type="presOf" srcId="{3BAE70E6-C830-4A72-BF44-31C989F628CC}" destId="{4B181D68-D754-4847-9A99-E3F22064120B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2C047524-6917-49B0-9959-690B9D25DE79}" type="presOf" srcId="{11E839E1-B711-434E-A651-6F3C323BC50C}" destId="{6B25C50D-F6A8-4DB1-B5F2-3082015FEEF4}" srcOrd="0" destOrd="0" presId="urn:microsoft.com/office/officeart/2008/layout/PictureStrips"/>
    <dgm:cxn modelId="{AA1C8F91-EBDE-481C-83BE-D39C989BB2E0}" type="presOf" srcId="{BD520DCA-9E45-42B6-A648-911261184BC0}" destId="{1D8E430E-18BA-41FD-98C4-D1794D190B61}" srcOrd="0" destOrd="0" presId="urn:microsoft.com/office/officeart/2008/layout/PictureStrips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253DA7FA-FE8A-4048-A4DC-B3C993B29087}" srcId="{E19B414F-5964-4613-9B63-747F00D38EDC}" destId="{AE9CAA74-1943-424F-BF90-A426505B9B4A}" srcOrd="5" destOrd="0" parTransId="{5A621643-84A9-4E41-A641-849BBC7C1A6E}" sibTransId="{F6BE36D3-648D-4EDC-A41A-71528355684D}"/>
    <dgm:cxn modelId="{7DBAF4B4-9F1C-44BE-A132-2D9B9739994F}" type="presOf" srcId="{AE9CAA74-1943-424F-BF90-A426505B9B4A}" destId="{4543CCC0-4B59-4F3E-99C4-39DBBA794CDB}" srcOrd="0" destOrd="0" presId="urn:microsoft.com/office/officeart/2008/layout/PictureStrips"/>
    <dgm:cxn modelId="{A1D42D0C-64C9-41A3-A4EE-D6BF35117BAC}" type="presOf" srcId="{1E22C401-12B5-4A05-8491-A5993A898425}" destId="{4B9CBBD8-4CC7-4F59-8A61-6DF53738CF87}" srcOrd="0" destOrd="0" presId="urn:microsoft.com/office/officeart/2008/layout/PictureStrips"/>
    <dgm:cxn modelId="{9E93807B-B640-4F2C-843C-F1920381B5B5}" type="presParOf" srcId="{215FFB21-C317-4290-AE3D-35CB1686E2BF}" destId="{46CF4624-D724-483B-9F76-6C0FB5FA388B}" srcOrd="0" destOrd="0" presId="urn:microsoft.com/office/officeart/2008/layout/PictureStrips"/>
    <dgm:cxn modelId="{141F3ED2-A1F0-4288-AD26-BCD3393BE44D}" type="presParOf" srcId="{46CF4624-D724-483B-9F76-6C0FB5FA388B}" destId="{6B25C50D-F6A8-4DB1-B5F2-3082015FEEF4}" srcOrd="0" destOrd="0" presId="urn:microsoft.com/office/officeart/2008/layout/PictureStrips"/>
    <dgm:cxn modelId="{4EC436DD-A4E5-46CD-AB75-E0815A6480B5}" type="presParOf" srcId="{46CF4624-D724-483B-9F76-6C0FB5FA388B}" destId="{D4C95A57-D57D-49E5-8E7B-8DB8F550B3B3}" srcOrd="1" destOrd="0" presId="urn:microsoft.com/office/officeart/2008/layout/PictureStrips"/>
    <dgm:cxn modelId="{BCA8DACD-59A4-4B2C-8C9A-D19625CE6F06}" type="presParOf" srcId="{215FFB21-C317-4290-AE3D-35CB1686E2BF}" destId="{229FB755-C179-4B2F-B44D-F8B1187F2F0F}" srcOrd="1" destOrd="0" presId="urn:microsoft.com/office/officeart/2008/layout/PictureStrips"/>
    <dgm:cxn modelId="{0619F381-955A-4710-BD62-32EF3E44D8FF}" type="presParOf" srcId="{215FFB21-C317-4290-AE3D-35CB1686E2BF}" destId="{8A6FAFCE-5D84-4E59-9F09-4264689965D2}" srcOrd="2" destOrd="0" presId="urn:microsoft.com/office/officeart/2008/layout/PictureStrips"/>
    <dgm:cxn modelId="{B32F6499-F332-4DA5-963C-F90521CBDBBA}" type="presParOf" srcId="{8A6FAFCE-5D84-4E59-9F09-4264689965D2}" destId="{DBBDC821-E2F1-4413-ABB9-BE07F4394A36}" srcOrd="0" destOrd="0" presId="urn:microsoft.com/office/officeart/2008/layout/PictureStrips"/>
    <dgm:cxn modelId="{57BD792A-44F3-4915-8E85-6D18590818E1}" type="presParOf" srcId="{8A6FAFCE-5D84-4E59-9F09-4264689965D2}" destId="{8A766FF5-08EC-4A79-AE5D-2F675B1C173E}" srcOrd="1" destOrd="0" presId="urn:microsoft.com/office/officeart/2008/layout/PictureStrips"/>
    <dgm:cxn modelId="{24AF6C33-BF9E-472F-8E6B-A83377C0EEC8}" type="presParOf" srcId="{215FFB21-C317-4290-AE3D-35CB1686E2BF}" destId="{44713401-D962-4D3D-B3DD-C57D37CBE731}" srcOrd="3" destOrd="0" presId="urn:microsoft.com/office/officeart/2008/layout/PictureStrips"/>
    <dgm:cxn modelId="{892684E9-4EA8-44C6-A5DB-332AE734EE72}" type="presParOf" srcId="{215FFB21-C317-4290-AE3D-35CB1686E2BF}" destId="{4E4DC971-58C4-41AE-9DE2-E1D963B92247}" srcOrd="4" destOrd="0" presId="urn:microsoft.com/office/officeart/2008/layout/PictureStrips"/>
    <dgm:cxn modelId="{1E187AD8-F76F-41F6-88C3-422B6A2B3B5C}" type="presParOf" srcId="{4E4DC971-58C4-41AE-9DE2-E1D963B92247}" destId="{1D8E430E-18BA-41FD-98C4-D1794D190B61}" srcOrd="0" destOrd="0" presId="urn:microsoft.com/office/officeart/2008/layout/PictureStrips"/>
    <dgm:cxn modelId="{A963F610-0E94-4CA9-A6E1-DD695C3D9977}" type="presParOf" srcId="{4E4DC971-58C4-41AE-9DE2-E1D963B92247}" destId="{999C0213-A4BA-470B-998A-7BDCEB5515DF}" srcOrd="1" destOrd="0" presId="urn:microsoft.com/office/officeart/2008/layout/PictureStrips"/>
    <dgm:cxn modelId="{9950EEBF-AED0-4EAB-B739-A4FE45FCB2D6}" type="presParOf" srcId="{215FFB21-C317-4290-AE3D-35CB1686E2BF}" destId="{54225934-192F-4700-8FE4-4B8EE3D4A1A3}" srcOrd="5" destOrd="0" presId="urn:microsoft.com/office/officeart/2008/layout/PictureStrips"/>
    <dgm:cxn modelId="{180D8718-6462-4BB4-8299-9BF05EFE2773}" type="presParOf" srcId="{215FFB21-C317-4290-AE3D-35CB1686E2BF}" destId="{DD4BBF90-BDA3-481F-A759-0B3B0B08214B}" srcOrd="6" destOrd="0" presId="urn:microsoft.com/office/officeart/2008/layout/PictureStrips"/>
    <dgm:cxn modelId="{51ED5416-7771-4343-9CA9-DD95FBBB6AE1}" type="presParOf" srcId="{DD4BBF90-BDA3-481F-A759-0B3B0B08214B}" destId="{CE13785E-03DE-4547-B184-FFEEA9BEE969}" srcOrd="0" destOrd="0" presId="urn:microsoft.com/office/officeart/2008/layout/PictureStrips"/>
    <dgm:cxn modelId="{51FB5138-2E13-4CCE-B54E-CEC6802FC6A9}" type="presParOf" srcId="{DD4BBF90-BDA3-481F-A759-0B3B0B08214B}" destId="{8E862193-2A57-471F-912D-D802DB715CDE}" srcOrd="1" destOrd="0" presId="urn:microsoft.com/office/officeart/2008/layout/PictureStrips"/>
    <dgm:cxn modelId="{BDD4B0D3-71BD-4D30-BFE2-40A20F79C38A}" type="presParOf" srcId="{215FFB21-C317-4290-AE3D-35CB1686E2BF}" destId="{ED1758D1-B7B7-4637-9E39-FBECB8388AB3}" srcOrd="7" destOrd="0" presId="urn:microsoft.com/office/officeart/2008/layout/PictureStrips"/>
    <dgm:cxn modelId="{3FC6E92A-A57D-4269-BADF-063BADFEC0E8}" type="presParOf" srcId="{215FFB21-C317-4290-AE3D-35CB1686E2BF}" destId="{0C544651-8DCD-42DA-890B-B6CD777582BE}" srcOrd="8" destOrd="0" presId="urn:microsoft.com/office/officeart/2008/layout/PictureStrips"/>
    <dgm:cxn modelId="{8D578913-ED17-4923-98FF-E47EA086F95F}" type="presParOf" srcId="{0C544651-8DCD-42DA-890B-B6CD777582BE}" destId="{4B181D68-D754-4847-9A99-E3F22064120B}" srcOrd="0" destOrd="0" presId="urn:microsoft.com/office/officeart/2008/layout/PictureStrips"/>
    <dgm:cxn modelId="{7E0F97F1-FF49-4FD7-93DA-62D1ECECDF1B}" type="presParOf" srcId="{0C544651-8DCD-42DA-890B-B6CD777582BE}" destId="{B30189D0-110A-4556-94A6-873F3C16DF54}" srcOrd="1" destOrd="0" presId="urn:microsoft.com/office/officeart/2008/layout/PictureStrips"/>
    <dgm:cxn modelId="{6C2BD33D-D03E-4746-9A13-BE1DB21DF58E}" type="presParOf" srcId="{215FFB21-C317-4290-AE3D-35CB1686E2BF}" destId="{AF6AD8B2-C8A2-43B0-B972-BB4520BBF2F3}" srcOrd="9" destOrd="0" presId="urn:microsoft.com/office/officeart/2008/layout/PictureStrips"/>
    <dgm:cxn modelId="{75B66B67-0FF3-4F93-881D-95DCD142BCA5}" type="presParOf" srcId="{215FFB21-C317-4290-AE3D-35CB1686E2BF}" destId="{DCAFD36E-3236-4CBE-9A05-2FD4709999EB}" srcOrd="10" destOrd="0" presId="urn:microsoft.com/office/officeart/2008/layout/PictureStrips"/>
    <dgm:cxn modelId="{BC2592C3-BE3E-4352-B487-9D7B811D82B4}" type="presParOf" srcId="{DCAFD36E-3236-4CBE-9A05-2FD4709999EB}" destId="{4543CCC0-4B59-4F3E-99C4-39DBBA794CDB}" srcOrd="0" destOrd="0" presId="urn:microsoft.com/office/officeart/2008/layout/PictureStrips"/>
    <dgm:cxn modelId="{89FE2CD8-1E9F-448A-A1E8-3A48DCD0E9B8}" type="presParOf" srcId="{DCAFD36E-3236-4CBE-9A05-2FD4709999EB}" destId="{F17DAA2C-04DE-4274-8F57-8B4249E0C725}" srcOrd="1" destOrd="0" presId="urn:microsoft.com/office/officeart/2008/layout/PictureStrips"/>
    <dgm:cxn modelId="{07F83506-025B-41A8-95F1-5E7465ADD1B2}" type="presParOf" srcId="{215FFB21-C317-4290-AE3D-35CB1686E2BF}" destId="{23D28F81-E273-46A5-AC3E-06F8B17886E4}" srcOrd="11" destOrd="0" presId="urn:microsoft.com/office/officeart/2008/layout/PictureStrips"/>
    <dgm:cxn modelId="{8ED4725B-EF10-4CFC-9F93-30591D7846A6}" type="presParOf" srcId="{215FFB21-C317-4290-AE3D-35CB1686E2BF}" destId="{CB5F6E82-9F4E-4734-93A5-2BC0C687F675}" srcOrd="12" destOrd="0" presId="urn:microsoft.com/office/officeart/2008/layout/PictureStrips"/>
    <dgm:cxn modelId="{26AAC68B-51AA-4916-9152-4A0E4B526B17}" type="presParOf" srcId="{CB5F6E82-9F4E-4734-93A5-2BC0C687F675}" destId="{4B9CBBD8-4CC7-4F59-8A61-6DF53738CF87}" srcOrd="0" destOrd="0" presId="urn:microsoft.com/office/officeart/2008/layout/PictureStrips"/>
    <dgm:cxn modelId="{8CD3849B-364F-48CF-8050-615BA4850CC1}" type="presParOf" srcId="{CB5F6E82-9F4E-4734-93A5-2BC0C687F675}" destId="{AAAA19A8-8B88-463B-B5FD-C48821581AC9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 Integración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 sz="2000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 sz="2000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Contar con un plan documentado</a:t>
          </a:r>
          <a:endParaRPr lang="es-ES" sz="1600" dirty="0"/>
        </a:p>
      </dgm:t>
    </dgm:pt>
    <dgm:pt modelId="{7E1EDFCC-BF59-4663-B3F8-70A4696DBEF7}" type="parTrans" cxnId="{0F7CB63A-C1DB-4351-A223-A4332821D6B9}">
      <dgm:prSet custT="1"/>
      <dgm:spPr/>
      <dgm:t>
        <a:bodyPr/>
        <a:lstStyle/>
        <a:p>
          <a:endParaRPr lang="es-ES" sz="2400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 sz="2000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Asegurar que el conocimiento adquirido esté disponible</a:t>
          </a:r>
          <a:endParaRPr lang="es-ES" sz="1600" dirty="0"/>
        </a:p>
      </dgm:t>
    </dgm:pt>
    <dgm:pt modelId="{F73EC90A-B068-4D6B-A307-7F76A038CB75}" type="parTrans" cxnId="{4C902489-09FB-47B4-858D-22BC3E84F0C1}">
      <dgm:prSet custT="1"/>
      <dgm:spPr/>
      <dgm:t>
        <a:bodyPr/>
        <a:lstStyle/>
        <a:p>
          <a:endParaRPr lang="es-ES" sz="2400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 sz="2000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Medir el avance del proyecto y tomar acciones correctivas</a:t>
          </a:r>
          <a:endParaRPr lang="es-ES" sz="1600" dirty="0"/>
        </a:p>
      </dgm:t>
    </dgm:pt>
    <dgm:pt modelId="{682D0457-3637-4208-9F57-1B6F8A9D5C34}" type="parTrans" cxnId="{636CC68F-E577-4484-949C-A454891ACF8C}">
      <dgm:prSet custT="1"/>
      <dgm:spPr/>
      <dgm:t>
        <a:bodyPr/>
        <a:lstStyle/>
        <a:p>
          <a:endParaRPr lang="es-ES" sz="2400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 sz="2000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600" dirty="0" smtClean="0"/>
            <a:t>Tomar decisiones respecto a los cambios identificados</a:t>
          </a:r>
          <a:endParaRPr lang="es-ES" sz="1600" dirty="0"/>
        </a:p>
      </dgm:t>
    </dgm:pt>
    <dgm:pt modelId="{96783876-C522-4A3F-83FC-9A3583C8433E}" type="parTrans" cxnId="{B3B48321-A1D7-455D-B8E8-5C72B32AD0A4}">
      <dgm:prSet custT="1"/>
      <dgm:spPr/>
      <dgm:t>
        <a:bodyPr/>
        <a:lstStyle/>
        <a:p>
          <a:endParaRPr lang="es-ES" sz="2400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 sz="2000"/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PE" sz="1600" dirty="0" smtClean="0"/>
            <a:t>Formalizar el cierre de cada fase y del proyecto</a:t>
          </a:r>
          <a:endParaRPr lang="es-ES" sz="1600" dirty="0"/>
        </a:p>
      </dgm:t>
    </dgm:pt>
    <dgm:pt modelId="{93299474-71FE-4527-91B9-1E42111E9C82}" type="parTrans" cxnId="{667F2443-A223-46AA-8212-4EF721A756CE}">
      <dgm:prSet custT="1"/>
      <dgm:spPr/>
      <dgm:t>
        <a:bodyPr/>
        <a:lstStyle/>
        <a:p>
          <a:endParaRPr lang="es-ES" sz="2400"/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 sz="2000"/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 custScaleX="142759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5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5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5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5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5" custScaleX="136241" custScaleY="93997" custRadScaleRad="109204" custRadScaleInc="-290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5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5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5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5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87D3E77-49A4-445C-9193-6ACE2533F4E0}" type="pres">
      <dgm:prSet presAssocID="{93299474-71FE-4527-91B9-1E42111E9C82}" presName="parTrans" presStyleLbl="sibTrans2D1" presStyleIdx="4" presStyleCnt="5"/>
      <dgm:spPr/>
      <dgm:t>
        <a:bodyPr/>
        <a:lstStyle/>
        <a:p>
          <a:endParaRPr lang="es-ES"/>
        </a:p>
      </dgm:t>
    </dgm:pt>
    <dgm:pt modelId="{19CD7861-5AB0-4334-8A25-FBD89519C651}" type="pres">
      <dgm:prSet presAssocID="{93299474-71FE-4527-91B9-1E42111E9C82}" presName="connectorText" presStyleLbl="sibTrans2D1" presStyleIdx="4" presStyleCnt="5"/>
      <dgm:spPr/>
      <dgm:t>
        <a:bodyPr/>
        <a:lstStyle/>
        <a:p>
          <a:endParaRPr lang="es-ES"/>
        </a:p>
      </dgm:t>
    </dgm:pt>
    <dgm:pt modelId="{09ECC0F7-25E3-49F0-9222-7E21E72E8490}" type="pres">
      <dgm:prSet presAssocID="{16473467-6A89-4809-87B7-C916CD7DE74F}" presName="node" presStyleLbl="node1" presStyleIdx="4" presStyleCnt="5" custScaleX="136241" custScaleY="93997" custRadScaleRad="108985" custRadScaleInc="19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24F53D4D-C271-48BC-AA55-1D5332BCF726}" type="presOf" srcId="{93299474-71FE-4527-91B9-1E42111E9C82}" destId="{19CD7861-5AB0-4334-8A25-FBD89519C651}" srcOrd="1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97304891-35DD-4A06-9D65-FE3C0F00CC52}" type="presOf" srcId="{16473467-6A89-4809-87B7-C916CD7DE74F}" destId="{09ECC0F7-25E3-49F0-9222-7E21E72E8490}" srcOrd="0" destOrd="0" presId="urn:microsoft.com/office/officeart/2005/8/layout/radial5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67F2443-A223-46AA-8212-4EF721A756CE}" srcId="{A0E11DB8-8D83-444F-A43E-AB8F2E3647B0}" destId="{16473467-6A89-4809-87B7-C916CD7DE74F}" srcOrd="4" destOrd="0" parTransId="{93299474-71FE-4527-91B9-1E42111E9C82}" sibTransId="{9373144F-27F7-46D3-BD99-161F66288D32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B4FAA8D2-8FD5-4C23-80F2-954ECB6AF4A0}" type="presOf" srcId="{93299474-71FE-4527-91B9-1E42111E9C82}" destId="{487D3E77-49A4-445C-9193-6ACE2533F4E0}" srcOrd="0" destOrd="0" presId="urn:microsoft.com/office/officeart/2005/8/layout/radial5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  <dgm:cxn modelId="{1D80CCFA-9640-411C-B5F2-7825B5467501}" type="presParOf" srcId="{680A94B2-BD67-41BF-AF38-B42BEAC6251A}" destId="{487D3E77-49A4-445C-9193-6ACE2533F4E0}" srcOrd="9" destOrd="0" presId="urn:microsoft.com/office/officeart/2005/8/layout/radial5"/>
    <dgm:cxn modelId="{0179221E-9F57-4221-835D-5AD6B44A718C}" type="presParOf" srcId="{487D3E77-49A4-445C-9193-6ACE2533F4E0}" destId="{19CD7861-5AB0-4334-8A25-FBD89519C651}" srcOrd="0" destOrd="0" presId="urn:microsoft.com/office/officeart/2005/8/layout/radial5"/>
    <dgm:cxn modelId="{1C4E02BC-5F19-45A8-9881-9C921DAB0FAB}" type="presParOf" srcId="{680A94B2-BD67-41BF-AF38-B42BEAC6251A}" destId="{09ECC0F7-25E3-49F0-9222-7E21E72E8490}" srcOrd="10" destOrd="0" presId="urn:microsoft.com/office/officeart/2005/8/layout/radial5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3 Definir el Alcance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4 Crear la EDT/WB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5 Validar el Alcance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6 Controlar el Alcance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FFE5E870-FF55-42CA-8A1D-9CE1F57AE812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0ECBE4A9-47CA-47B8-824E-C3F1C50A8C33}" type="pres">
      <dgm:prSet presAssocID="{11E839E1-B711-434E-A651-6F3C323BC50C}" presName="composite" presStyleCnt="0"/>
      <dgm:spPr/>
    </dgm:pt>
    <dgm:pt modelId="{02562E4B-1A2B-4573-A7E4-C067B53F6350}" type="pres">
      <dgm:prSet presAssocID="{11E839E1-B711-434E-A651-6F3C323BC50C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E1A2425-5523-4044-8D03-E5DB0CEE4456}" type="pres">
      <dgm:prSet presAssocID="{11E839E1-B711-434E-A651-6F3C323BC50C}" presName="rect2" presStyleLbl="fgImgPlace1" presStyleIdx="0" presStyleCnt="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59BB8FEC-C19E-4C42-972D-38E8E4F3C534}" type="pres">
      <dgm:prSet presAssocID="{799FFC25-7752-45E5-92A7-EB4CA5670BE2}" presName="sibTrans" presStyleCnt="0"/>
      <dgm:spPr/>
    </dgm:pt>
    <dgm:pt modelId="{CFCB9467-6D92-400E-8A89-EC73C500B00D}" type="pres">
      <dgm:prSet presAssocID="{A7A835AF-88CF-4494-A3A1-1F24B2B203DD}" presName="composite" presStyleCnt="0"/>
      <dgm:spPr/>
    </dgm:pt>
    <dgm:pt modelId="{A560D8F5-8A80-4795-8D60-A84B7A6F20B7}" type="pres">
      <dgm:prSet presAssocID="{A7A835AF-88CF-4494-A3A1-1F24B2B203D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AA476C8-550B-4DAF-8D20-4B4584E05456}" type="pres">
      <dgm:prSet presAssocID="{A7A835AF-88CF-4494-A3A1-1F24B2B203DD}" presName="rect2" presStyleLbl="f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7A2D54A4-73D5-48A0-90AB-BCDA4D11A397}" type="pres">
      <dgm:prSet presAssocID="{A9B40887-62FA-496F-B8F9-75E0874CBF63}" presName="sibTrans" presStyleCnt="0"/>
      <dgm:spPr/>
    </dgm:pt>
    <dgm:pt modelId="{63214B3F-B544-49A2-98FA-F4EC1F2FD23F}" type="pres">
      <dgm:prSet presAssocID="{BD520DCA-9E45-42B6-A648-911261184BC0}" presName="composite" presStyleCnt="0"/>
      <dgm:spPr/>
    </dgm:pt>
    <dgm:pt modelId="{3BA6756C-3611-4A63-8CFF-BC799D03CD07}" type="pres">
      <dgm:prSet presAssocID="{BD520DCA-9E45-42B6-A648-911261184BC0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144A68E-36A4-4E62-8796-A24F96BD5C09}" type="pres">
      <dgm:prSet presAssocID="{BD520DCA-9E45-42B6-A648-911261184BC0}" presName="rect2" presStyleLbl="f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D0A2C3B1-84F8-4EF9-813A-56730BA508D3}" type="pres">
      <dgm:prSet presAssocID="{70553470-8B98-4497-9B4D-7BDCF077F029}" presName="sibTrans" presStyleCnt="0"/>
      <dgm:spPr/>
    </dgm:pt>
    <dgm:pt modelId="{D7B9C148-0D74-436A-AA00-459F573F2898}" type="pres">
      <dgm:prSet presAssocID="{C1CADB95-E106-4253-B580-22EDEBF3844D}" presName="composite" presStyleCnt="0"/>
      <dgm:spPr/>
    </dgm:pt>
    <dgm:pt modelId="{F3FEA46F-7F62-4BE6-A730-300EBE77DFBF}" type="pres">
      <dgm:prSet presAssocID="{C1CADB95-E106-4253-B580-22EDEBF3844D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C6531F6-0221-44D8-AED2-BD1BEA9A4427}" type="pres">
      <dgm:prSet presAssocID="{C1CADB95-E106-4253-B580-22EDEBF3844D}" presName="rect2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DE1FB4FE-E5DA-432A-AD41-99DE6D708A45}" type="presOf" srcId="{A7A835AF-88CF-4494-A3A1-1F24B2B203DD}" destId="{A560D8F5-8A80-4795-8D60-A84B7A6F20B7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86AE1552-FE62-41B0-9D85-9BAE83576155}" type="presOf" srcId="{BD520DCA-9E45-42B6-A648-911261184BC0}" destId="{3BA6756C-3611-4A63-8CFF-BC799D03CD07}" srcOrd="0" destOrd="0" presId="urn:microsoft.com/office/officeart/2008/layout/PictureStrips"/>
    <dgm:cxn modelId="{92313768-1186-4487-BB39-C829BCD52D89}" type="presOf" srcId="{11E839E1-B711-434E-A651-6F3C323BC50C}" destId="{02562E4B-1A2B-4573-A7E4-C067B53F6350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85BD0826-1A02-4417-90AD-E2B0A7656614}" type="presOf" srcId="{E19B414F-5964-4613-9B63-747F00D38EDC}" destId="{FFE5E870-FF55-42CA-8A1D-9CE1F57AE812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38CF7DD0-8CBB-4536-B50F-A3CFDCCD8531}" type="presOf" srcId="{C1CADB95-E106-4253-B580-22EDEBF3844D}" destId="{F3FEA46F-7F62-4BE6-A730-300EBE77DFBF}" srcOrd="0" destOrd="0" presId="urn:microsoft.com/office/officeart/2008/layout/PictureStrips"/>
    <dgm:cxn modelId="{C32881F8-4FBA-4709-A233-84A4B79B9874}" type="presParOf" srcId="{FFE5E870-FF55-42CA-8A1D-9CE1F57AE812}" destId="{0ECBE4A9-47CA-47B8-824E-C3F1C50A8C33}" srcOrd="0" destOrd="0" presId="urn:microsoft.com/office/officeart/2008/layout/PictureStrips"/>
    <dgm:cxn modelId="{721A024B-392C-4616-B351-6C8ECD058BD1}" type="presParOf" srcId="{0ECBE4A9-47CA-47B8-824E-C3F1C50A8C33}" destId="{02562E4B-1A2B-4573-A7E4-C067B53F6350}" srcOrd="0" destOrd="0" presId="urn:microsoft.com/office/officeart/2008/layout/PictureStrips"/>
    <dgm:cxn modelId="{731F7C63-7D3B-4992-B659-801613384D65}" type="presParOf" srcId="{0ECBE4A9-47CA-47B8-824E-C3F1C50A8C33}" destId="{AE1A2425-5523-4044-8D03-E5DB0CEE4456}" srcOrd="1" destOrd="0" presId="urn:microsoft.com/office/officeart/2008/layout/PictureStrips"/>
    <dgm:cxn modelId="{8E42BB28-159D-484A-BE3F-B64FE3E7AA5F}" type="presParOf" srcId="{FFE5E870-FF55-42CA-8A1D-9CE1F57AE812}" destId="{59BB8FEC-C19E-4C42-972D-38E8E4F3C534}" srcOrd="1" destOrd="0" presId="urn:microsoft.com/office/officeart/2008/layout/PictureStrips"/>
    <dgm:cxn modelId="{FCE5B16E-EA1C-4D1E-802A-748049A7B7C3}" type="presParOf" srcId="{FFE5E870-FF55-42CA-8A1D-9CE1F57AE812}" destId="{CFCB9467-6D92-400E-8A89-EC73C500B00D}" srcOrd="2" destOrd="0" presId="urn:microsoft.com/office/officeart/2008/layout/PictureStrips"/>
    <dgm:cxn modelId="{1BFCCF5C-57DC-4C09-97C4-EF750FCC05BA}" type="presParOf" srcId="{CFCB9467-6D92-400E-8A89-EC73C500B00D}" destId="{A560D8F5-8A80-4795-8D60-A84B7A6F20B7}" srcOrd="0" destOrd="0" presId="urn:microsoft.com/office/officeart/2008/layout/PictureStrips"/>
    <dgm:cxn modelId="{71040FD6-2B71-411D-A43E-0DE3A290F835}" type="presParOf" srcId="{CFCB9467-6D92-400E-8A89-EC73C500B00D}" destId="{7AA476C8-550B-4DAF-8D20-4B4584E05456}" srcOrd="1" destOrd="0" presId="urn:microsoft.com/office/officeart/2008/layout/PictureStrips"/>
    <dgm:cxn modelId="{56447353-A293-4E43-8CDA-AFD60D07B5EF}" type="presParOf" srcId="{FFE5E870-FF55-42CA-8A1D-9CE1F57AE812}" destId="{7A2D54A4-73D5-48A0-90AB-BCDA4D11A397}" srcOrd="3" destOrd="0" presId="urn:microsoft.com/office/officeart/2008/layout/PictureStrips"/>
    <dgm:cxn modelId="{8DD06FE1-9121-448D-9349-EBCBF071B3D5}" type="presParOf" srcId="{FFE5E870-FF55-42CA-8A1D-9CE1F57AE812}" destId="{63214B3F-B544-49A2-98FA-F4EC1F2FD23F}" srcOrd="4" destOrd="0" presId="urn:microsoft.com/office/officeart/2008/layout/PictureStrips"/>
    <dgm:cxn modelId="{41BC6D44-F3F8-4581-8244-797E2A2DD0BD}" type="presParOf" srcId="{63214B3F-B544-49A2-98FA-F4EC1F2FD23F}" destId="{3BA6756C-3611-4A63-8CFF-BC799D03CD07}" srcOrd="0" destOrd="0" presId="urn:microsoft.com/office/officeart/2008/layout/PictureStrips"/>
    <dgm:cxn modelId="{58E96910-4B86-4961-AF06-A0B2A47CBCAF}" type="presParOf" srcId="{63214B3F-B544-49A2-98FA-F4EC1F2FD23F}" destId="{1144A68E-36A4-4E62-8796-A24F96BD5C09}" srcOrd="1" destOrd="0" presId="urn:microsoft.com/office/officeart/2008/layout/PictureStrips"/>
    <dgm:cxn modelId="{6C8E6514-FB7C-434F-9761-D06630955418}" type="presParOf" srcId="{FFE5E870-FF55-42CA-8A1D-9CE1F57AE812}" destId="{D0A2C3B1-84F8-4EF9-813A-56730BA508D3}" srcOrd="5" destOrd="0" presId="urn:microsoft.com/office/officeart/2008/layout/PictureStrips"/>
    <dgm:cxn modelId="{E0DFF1F8-5460-4B1D-88CA-174FCE917B33}" type="presParOf" srcId="{FFE5E870-FF55-42CA-8A1D-9CE1F57AE812}" destId="{D7B9C148-0D74-436A-AA00-459F573F2898}" srcOrd="6" destOrd="0" presId="urn:microsoft.com/office/officeart/2008/layout/PictureStrips"/>
    <dgm:cxn modelId="{0CD0039C-589F-403F-8EC5-BAFE9135E3E3}" type="presParOf" srcId="{D7B9C148-0D74-436A-AA00-459F573F2898}" destId="{F3FEA46F-7F62-4BE6-A730-300EBE77DFBF}" srcOrd="0" destOrd="0" presId="urn:microsoft.com/office/officeart/2008/layout/PictureStrips"/>
    <dgm:cxn modelId="{ED2BCB37-1D64-4C6F-BB77-B0AAE1641A5F}" type="presParOf" srcId="{D7B9C148-0D74-436A-AA00-459F573F2898}" destId="{7C6531F6-0221-44D8-AED2-BD1BEA9A442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l Alcance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 sz="1600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 sz="1600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Documentar los requisitos de los interesados</a:t>
          </a:r>
          <a:endParaRPr lang="es-ES" sz="1600" dirty="0"/>
        </a:p>
      </dgm:t>
    </dgm:pt>
    <dgm:pt modelId="{7E1EDFCC-BF59-4663-B3F8-70A4696DBEF7}" type="parTrans" cxnId="{0F7CB63A-C1DB-4351-A223-A4332821D6B9}">
      <dgm:prSet custT="1"/>
      <dgm:spPr/>
      <dgm:t>
        <a:bodyPr/>
        <a:lstStyle/>
        <a:p>
          <a:endParaRPr lang="es-ES" sz="1600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 sz="1600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Definir el trabajo a realizar</a:t>
          </a:r>
          <a:endParaRPr lang="es-ES" sz="1600" dirty="0"/>
        </a:p>
      </dgm:t>
    </dgm:pt>
    <dgm:pt modelId="{F73EC90A-B068-4D6B-A307-7F76A038CB75}" type="parTrans" cxnId="{4C902489-09FB-47B4-858D-22BC3E84F0C1}">
      <dgm:prSet custT="1"/>
      <dgm:spPr/>
      <dgm:t>
        <a:bodyPr/>
        <a:lstStyle/>
        <a:p>
          <a:endParaRPr lang="es-ES" sz="1600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 sz="1600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ES" sz="1600" dirty="0" smtClean="0"/>
            <a:t>Validar los entregables desarrollados</a:t>
          </a:r>
          <a:endParaRPr lang="es-ES" sz="1600" dirty="0"/>
        </a:p>
      </dgm:t>
    </dgm:pt>
    <dgm:pt modelId="{96783876-C522-4A3F-83FC-9A3583C8433E}" type="parTrans" cxnId="{B3B48321-A1D7-455D-B8E8-5C72B32AD0A4}">
      <dgm:prSet custT="1"/>
      <dgm:spPr/>
      <dgm:t>
        <a:bodyPr/>
        <a:lstStyle/>
        <a:p>
          <a:endParaRPr lang="es-ES" sz="1600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 sz="1600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smtClean="0"/>
            <a:t>Definir los límites del proyecto</a:t>
          </a:r>
          <a:endParaRPr lang="es-ES" sz="1600" dirty="0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 sz="1600"/>
        </a:p>
      </dgm:t>
    </dgm:pt>
    <dgm:pt modelId="{682D0457-3637-4208-9F57-1B6F8A9D5C34}" type="parTrans" cxnId="{636CC68F-E577-4484-949C-A454891ACF8C}">
      <dgm:prSet custT="1"/>
      <dgm:spPr/>
      <dgm:t>
        <a:bodyPr/>
        <a:lstStyle/>
        <a:p>
          <a:endParaRPr lang="es-ES" sz="1600"/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4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4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4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4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4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4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4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4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2 Definir las Actividade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3 Secuenciar las Actividades</a:t>
          </a:r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6.4 Estimar la Duración de las Actividade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5 Desarrollar el Cronograma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6 Controlar el Cronograma</a:t>
          </a:r>
          <a:endParaRPr lang="es-ES" sz="2000" dirty="0"/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A0204A13-4EFA-4D9E-AF7B-3BA6709DD5B8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CD3295F-8ACF-4F82-9023-0D8B85C6AD06}" type="pres">
      <dgm:prSet presAssocID="{11E839E1-B711-434E-A651-6F3C323BC50C}" presName="composite" presStyleCnt="0"/>
      <dgm:spPr/>
    </dgm:pt>
    <dgm:pt modelId="{B720BE7A-70A5-42D7-B4E4-1425640FDB16}" type="pres">
      <dgm:prSet presAssocID="{11E839E1-B711-434E-A651-6F3C323BC50C}" presName="rect1" presStyleLbl="tr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2485EED-E3B9-48AD-8467-534FAFB37375}" type="pres">
      <dgm:prSet presAssocID="{11E839E1-B711-434E-A651-6F3C323BC50C}" presName="rect2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C427C1D-ABC9-41B8-BF7F-FCC0FA9B4648}" type="pres">
      <dgm:prSet presAssocID="{799FFC25-7752-45E5-92A7-EB4CA5670BE2}" presName="sibTrans" presStyleCnt="0"/>
      <dgm:spPr/>
    </dgm:pt>
    <dgm:pt modelId="{893F14F2-AED1-40A2-A88E-7A33A3D00F01}" type="pres">
      <dgm:prSet presAssocID="{A7A835AF-88CF-4494-A3A1-1F24B2B203DD}" presName="composite" presStyleCnt="0"/>
      <dgm:spPr/>
    </dgm:pt>
    <dgm:pt modelId="{1D3D28A1-A7E7-42D6-9BE6-4134BC6EDAB0}" type="pres">
      <dgm:prSet presAssocID="{A7A835AF-88CF-4494-A3A1-1F24B2B203DD}" presName="rect1" presStyleLbl="tr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01F1AB5-72BC-4516-80C7-8DFBC4FA9352}" type="pres">
      <dgm:prSet presAssocID="{A7A835AF-88CF-4494-A3A1-1F24B2B203DD}" presName="rect2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63B61ABD-3D76-42AB-A4B6-B13D15ECE6CB}" type="pres">
      <dgm:prSet presAssocID="{A9B40887-62FA-496F-B8F9-75E0874CBF63}" presName="sibTrans" presStyleCnt="0"/>
      <dgm:spPr/>
    </dgm:pt>
    <dgm:pt modelId="{B860110C-D35F-40F2-99C4-8D7715570960}" type="pres">
      <dgm:prSet presAssocID="{BD520DCA-9E45-42B6-A648-911261184BC0}" presName="composite" presStyleCnt="0"/>
      <dgm:spPr/>
    </dgm:pt>
    <dgm:pt modelId="{B270DB72-A8BB-40F9-AE69-8719B059BDF9}" type="pres">
      <dgm:prSet presAssocID="{BD520DCA-9E45-42B6-A648-911261184BC0}" presName="rect1" presStyleLbl="tr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6D423A5-0C88-4A2D-8E62-D71C48E4EA58}" type="pres">
      <dgm:prSet presAssocID="{BD520DCA-9E45-42B6-A648-911261184BC0}" presName="rect2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B3A67C6E-EF96-4A98-95F1-50C85B2EE5CD}" type="pres">
      <dgm:prSet presAssocID="{70553470-8B98-4497-9B4D-7BDCF077F029}" presName="sibTrans" presStyleCnt="0"/>
      <dgm:spPr/>
    </dgm:pt>
    <dgm:pt modelId="{685B5B00-637F-42E1-AF45-6609E9AC8DA9}" type="pres">
      <dgm:prSet presAssocID="{C1CADB95-E106-4253-B580-22EDEBF3844D}" presName="composite" presStyleCnt="0"/>
      <dgm:spPr/>
    </dgm:pt>
    <dgm:pt modelId="{307D7983-BB9D-4762-8DF5-402E9C39BD3B}" type="pres">
      <dgm:prSet presAssocID="{C1CADB95-E106-4253-B580-22EDEBF3844D}" presName="rect1" presStyleLbl="tr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D2963E-77B9-4800-8928-2685D77817E8}" type="pres">
      <dgm:prSet presAssocID="{C1CADB95-E106-4253-B580-22EDEBF3844D}" presName="rect2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CC185332-76B7-4C0E-9A17-3D6464926B4D}" type="pres">
      <dgm:prSet presAssocID="{ADAE7442-D5B3-4200-A26A-6A580EECE706}" presName="sibTrans" presStyleCnt="0"/>
      <dgm:spPr/>
    </dgm:pt>
    <dgm:pt modelId="{265C6869-D7A8-4330-84BF-2AF85C42DB2F}" type="pres">
      <dgm:prSet presAssocID="{3BAE70E6-C830-4A72-BF44-31C989F628CC}" presName="composite" presStyleCnt="0"/>
      <dgm:spPr/>
    </dgm:pt>
    <dgm:pt modelId="{8CDAC24D-88CE-4221-8EF7-940F54D138D1}" type="pres">
      <dgm:prSet presAssocID="{3BAE70E6-C830-4A72-BF44-31C989F628CC}" presName="rect1" presStyleLbl="tr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A355D56-D6C8-4F99-8A32-8224EB520B49}" type="pres">
      <dgm:prSet presAssocID="{3BAE70E6-C830-4A72-BF44-31C989F628CC}" presName="rect2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E1D2E09A-85BA-4AD1-B763-F2A387F7EB84}" type="presOf" srcId="{C1CADB95-E106-4253-B580-22EDEBF3844D}" destId="{307D7983-BB9D-4762-8DF5-402E9C39BD3B}" srcOrd="0" destOrd="0" presId="urn:microsoft.com/office/officeart/2008/layout/PictureStrips"/>
    <dgm:cxn modelId="{6D2A7B36-8EBE-49BF-A3B9-C75FC4755E1F}" type="presOf" srcId="{E19B414F-5964-4613-9B63-747F00D38EDC}" destId="{A0204A13-4EFA-4D9E-AF7B-3BA6709DD5B8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70CAC7FF-B9DC-43F4-8475-24D25D28805A}" type="presOf" srcId="{BD520DCA-9E45-42B6-A648-911261184BC0}" destId="{B270DB72-A8BB-40F9-AE69-8719B059BDF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22DEE44D-DFC0-4706-80B6-853096317934}" type="presOf" srcId="{A7A835AF-88CF-4494-A3A1-1F24B2B203DD}" destId="{1D3D28A1-A7E7-42D6-9BE6-4134BC6EDAB0}" srcOrd="0" destOrd="0" presId="urn:microsoft.com/office/officeart/2008/layout/PictureStrips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2D75383F-91F7-4364-9010-FA81DDA6EA3E}" type="presOf" srcId="{11E839E1-B711-434E-A651-6F3C323BC50C}" destId="{B720BE7A-70A5-42D7-B4E4-1425640FDB16}" srcOrd="0" destOrd="0" presId="urn:microsoft.com/office/officeart/2008/layout/PictureStrips"/>
    <dgm:cxn modelId="{A16F7A79-DBB8-4BF0-BC32-C6EA920CDF1D}" type="presOf" srcId="{3BAE70E6-C830-4A72-BF44-31C989F628CC}" destId="{8CDAC24D-88CE-4221-8EF7-940F54D138D1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BF9547C2-8090-44DE-9F96-5B8CF6704FFB}" type="presParOf" srcId="{A0204A13-4EFA-4D9E-AF7B-3BA6709DD5B8}" destId="{BCD3295F-8ACF-4F82-9023-0D8B85C6AD06}" srcOrd="0" destOrd="0" presId="urn:microsoft.com/office/officeart/2008/layout/PictureStrips"/>
    <dgm:cxn modelId="{89DD8F71-2ACF-4682-A5F7-402B06A3A9A7}" type="presParOf" srcId="{BCD3295F-8ACF-4F82-9023-0D8B85C6AD06}" destId="{B720BE7A-70A5-42D7-B4E4-1425640FDB16}" srcOrd="0" destOrd="0" presId="urn:microsoft.com/office/officeart/2008/layout/PictureStrips"/>
    <dgm:cxn modelId="{7B07E2C3-0C7D-41DD-A7C1-D7870ADF3D75}" type="presParOf" srcId="{BCD3295F-8ACF-4F82-9023-0D8B85C6AD06}" destId="{E2485EED-E3B9-48AD-8467-534FAFB37375}" srcOrd="1" destOrd="0" presId="urn:microsoft.com/office/officeart/2008/layout/PictureStrips"/>
    <dgm:cxn modelId="{13CF2252-E8A3-4718-AFB7-E64AAC2C3005}" type="presParOf" srcId="{A0204A13-4EFA-4D9E-AF7B-3BA6709DD5B8}" destId="{AC427C1D-ABC9-41B8-BF7F-FCC0FA9B4648}" srcOrd="1" destOrd="0" presId="urn:microsoft.com/office/officeart/2008/layout/PictureStrips"/>
    <dgm:cxn modelId="{380B2983-F9D6-4FE3-95E6-E3321ED16203}" type="presParOf" srcId="{A0204A13-4EFA-4D9E-AF7B-3BA6709DD5B8}" destId="{893F14F2-AED1-40A2-A88E-7A33A3D00F01}" srcOrd="2" destOrd="0" presId="urn:microsoft.com/office/officeart/2008/layout/PictureStrips"/>
    <dgm:cxn modelId="{967A8342-3CA0-4EE1-83A5-B03EABE294F2}" type="presParOf" srcId="{893F14F2-AED1-40A2-A88E-7A33A3D00F01}" destId="{1D3D28A1-A7E7-42D6-9BE6-4134BC6EDAB0}" srcOrd="0" destOrd="0" presId="urn:microsoft.com/office/officeart/2008/layout/PictureStrips"/>
    <dgm:cxn modelId="{E4E6D466-8780-4B5D-B8FF-0E6B21B507CC}" type="presParOf" srcId="{893F14F2-AED1-40A2-A88E-7A33A3D00F01}" destId="{801F1AB5-72BC-4516-80C7-8DFBC4FA9352}" srcOrd="1" destOrd="0" presId="urn:microsoft.com/office/officeart/2008/layout/PictureStrips"/>
    <dgm:cxn modelId="{B83FEEFF-575D-460C-B886-B8348D084781}" type="presParOf" srcId="{A0204A13-4EFA-4D9E-AF7B-3BA6709DD5B8}" destId="{63B61ABD-3D76-42AB-A4B6-B13D15ECE6CB}" srcOrd="3" destOrd="0" presId="urn:microsoft.com/office/officeart/2008/layout/PictureStrips"/>
    <dgm:cxn modelId="{ECC939CC-C5A4-4F3A-8CB0-4CA864524606}" type="presParOf" srcId="{A0204A13-4EFA-4D9E-AF7B-3BA6709DD5B8}" destId="{B860110C-D35F-40F2-99C4-8D7715570960}" srcOrd="4" destOrd="0" presId="urn:microsoft.com/office/officeart/2008/layout/PictureStrips"/>
    <dgm:cxn modelId="{A59FEF01-6989-492E-B244-B7C69FE9FD03}" type="presParOf" srcId="{B860110C-D35F-40F2-99C4-8D7715570960}" destId="{B270DB72-A8BB-40F9-AE69-8719B059BDF9}" srcOrd="0" destOrd="0" presId="urn:microsoft.com/office/officeart/2008/layout/PictureStrips"/>
    <dgm:cxn modelId="{49B2665C-4C3F-4ECF-AC62-21CEABC78347}" type="presParOf" srcId="{B860110C-D35F-40F2-99C4-8D7715570960}" destId="{56D423A5-0C88-4A2D-8E62-D71C48E4EA58}" srcOrd="1" destOrd="0" presId="urn:microsoft.com/office/officeart/2008/layout/PictureStrips"/>
    <dgm:cxn modelId="{9B8081DB-A316-4BD7-9D16-A7C22A821D8D}" type="presParOf" srcId="{A0204A13-4EFA-4D9E-AF7B-3BA6709DD5B8}" destId="{B3A67C6E-EF96-4A98-95F1-50C85B2EE5CD}" srcOrd="5" destOrd="0" presId="urn:microsoft.com/office/officeart/2008/layout/PictureStrips"/>
    <dgm:cxn modelId="{0996B832-75F2-4CBC-B5EB-11CD0109CA6C}" type="presParOf" srcId="{A0204A13-4EFA-4D9E-AF7B-3BA6709DD5B8}" destId="{685B5B00-637F-42E1-AF45-6609E9AC8DA9}" srcOrd="6" destOrd="0" presId="urn:microsoft.com/office/officeart/2008/layout/PictureStrips"/>
    <dgm:cxn modelId="{9B34A977-4A8D-412B-BDBB-FBD34CDCDDA3}" type="presParOf" srcId="{685B5B00-637F-42E1-AF45-6609E9AC8DA9}" destId="{307D7983-BB9D-4762-8DF5-402E9C39BD3B}" srcOrd="0" destOrd="0" presId="urn:microsoft.com/office/officeart/2008/layout/PictureStrips"/>
    <dgm:cxn modelId="{66D8CBB8-30E5-45D8-9FB0-3141C3B2A687}" type="presParOf" srcId="{685B5B00-637F-42E1-AF45-6609E9AC8DA9}" destId="{CBD2963E-77B9-4800-8928-2685D77817E8}" srcOrd="1" destOrd="0" presId="urn:microsoft.com/office/officeart/2008/layout/PictureStrips"/>
    <dgm:cxn modelId="{3CB7DA26-3CAD-4DEE-8220-763C4CDE396D}" type="presParOf" srcId="{A0204A13-4EFA-4D9E-AF7B-3BA6709DD5B8}" destId="{CC185332-76B7-4C0E-9A17-3D6464926B4D}" srcOrd="7" destOrd="0" presId="urn:microsoft.com/office/officeart/2008/layout/PictureStrips"/>
    <dgm:cxn modelId="{35D0E620-F8E3-4233-8458-77D8DE3AE621}" type="presParOf" srcId="{A0204A13-4EFA-4D9E-AF7B-3BA6709DD5B8}" destId="{265C6869-D7A8-4330-84BF-2AF85C42DB2F}" srcOrd="8" destOrd="0" presId="urn:microsoft.com/office/officeart/2008/layout/PictureStrips"/>
    <dgm:cxn modelId="{438137CF-EE59-47C0-A452-045B0D7EEFC9}" type="presParOf" srcId="{265C6869-D7A8-4330-84BF-2AF85C42DB2F}" destId="{8CDAC24D-88CE-4221-8EF7-940F54D138D1}" srcOrd="0" destOrd="0" presId="urn:microsoft.com/office/officeart/2008/layout/PictureStrips"/>
    <dgm:cxn modelId="{63F53610-8F8C-4A91-AA16-AE9B75D34756}" type="presParOf" srcId="{265C6869-D7A8-4330-84BF-2AF85C42DB2F}" destId="{6A355D56-D6C8-4F99-8A32-8224EB520B49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l Cronograma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Identificar las actividades a desarrollar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Estimar la duración del trabajo d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Monitorear el avance del proyecto</a:t>
          </a:r>
          <a:endParaRPr lang="es-ES" sz="16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B5244FA4-393F-49C7-A16F-FC2B79E5C3D6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0C0155B8-0A12-4882-93DA-181D7529817D}" type="pres">
      <dgm:prSet presAssocID="{A0E11DB8-8D83-444F-A43E-AB8F2E3647B0}" presName="centerShape" presStyleLbl="node0" presStyleIdx="0" presStyleCnt="1" custScaleX="145974"/>
      <dgm:spPr/>
      <dgm:t>
        <a:bodyPr/>
        <a:lstStyle/>
        <a:p>
          <a:endParaRPr lang="es-PE"/>
        </a:p>
      </dgm:t>
    </dgm:pt>
    <dgm:pt modelId="{CF665BDB-722A-43F7-B641-C90B082EDDE6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DED20BD4-12CA-496B-AA3D-6340FF782A74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536885C1-CB24-4FBC-B82C-9DE75A9853E2}" type="pres">
      <dgm:prSet presAssocID="{FA0B02C4-D29C-4B37-9287-02433EF8EB32}" presName="node" presStyleLbl="node1" presStyleIdx="0" presStyleCnt="3" custScaleX="11347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22FC6A8-D515-477D-A90A-C7B83C68BF13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881451CB-5262-4695-9782-EB6BCB5D9B1B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89CCFC5A-EEC9-44E2-89F6-840D11B24BE4}" type="pres">
      <dgm:prSet presAssocID="{4F5DCE7D-05A2-4FFD-8B1A-E0AE522DCB13}" presName="node" presStyleLbl="node1" presStyleIdx="1" presStyleCnt="3" custScaleX="113474" custRadScaleRad="108450" custRadScaleInc="-20951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2C64306F-B27E-4CA0-84DB-1A17C42BC108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456D7B5C-5EBA-40EE-9748-7C8A56F9ECB4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9C1C0667-ED0D-4BD0-8386-90EC73954A88}" type="pres">
      <dgm:prSet presAssocID="{5A58FCCA-16E8-4A07-A8AB-5DEDBF7F7338}" presName="node" presStyleLbl="node1" presStyleIdx="2" presStyleCnt="3" custScaleX="113474" custRadScaleRad="109688" custRadScaleInc="21291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31674325-3F54-4EA0-A715-126A20C90534}" type="presOf" srcId="{4F5DCE7D-05A2-4FFD-8B1A-E0AE522DCB13}" destId="{89CCFC5A-EEC9-44E2-89F6-840D11B24BE4}" srcOrd="0" destOrd="0" presId="urn:microsoft.com/office/officeart/2005/8/layout/radial5"/>
    <dgm:cxn modelId="{0F4965D8-B8A9-4D73-9872-AE8DCFED82E2}" type="presOf" srcId="{682D0457-3637-4208-9F57-1B6F8A9D5C34}" destId="{2C64306F-B27E-4CA0-84DB-1A17C42BC108}" srcOrd="0" destOrd="0" presId="urn:microsoft.com/office/officeart/2005/8/layout/radial5"/>
    <dgm:cxn modelId="{348E8FC3-1118-4C77-A9F5-43F53754488F}" type="presOf" srcId="{682D0457-3637-4208-9F57-1B6F8A9D5C34}" destId="{456D7B5C-5EBA-40EE-9748-7C8A56F9ECB4}" srcOrd="1" destOrd="0" presId="urn:microsoft.com/office/officeart/2005/8/layout/radial5"/>
    <dgm:cxn modelId="{31D72820-626E-4830-8B26-88209C16F617}" type="presOf" srcId="{7E1EDFCC-BF59-4663-B3F8-70A4696DBEF7}" destId="{CF665BDB-722A-43F7-B641-C90B082EDDE6}" srcOrd="0" destOrd="0" presId="urn:microsoft.com/office/officeart/2005/8/layout/radial5"/>
    <dgm:cxn modelId="{13E83A25-CD07-4A6D-BEF7-3F53D056EFB6}" type="presOf" srcId="{7491A931-5E17-406A-A26A-9AE89B9A71FC}" destId="{B5244FA4-393F-49C7-A16F-FC2B79E5C3D6}" srcOrd="0" destOrd="0" presId="urn:microsoft.com/office/officeart/2005/8/layout/radial5"/>
    <dgm:cxn modelId="{71502DF0-5FD3-4A5C-922C-B6ED4E6D4518}" type="presOf" srcId="{F73EC90A-B068-4D6B-A307-7F76A038CB75}" destId="{D22FC6A8-D515-477D-A90A-C7B83C68BF13}" srcOrd="0" destOrd="0" presId="urn:microsoft.com/office/officeart/2005/8/layout/radial5"/>
    <dgm:cxn modelId="{C856E121-FFC6-439D-90ED-A3F1B375860E}" type="presOf" srcId="{A0E11DB8-8D83-444F-A43E-AB8F2E3647B0}" destId="{0C0155B8-0A12-4882-93DA-181D7529817D}" srcOrd="0" destOrd="0" presId="urn:microsoft.com/office/officeart/2005/8/layout/radial5"/>
    <dgm:cxn modelId="{20AA1B48-AE50-4125-B4B0-26FE4F09F1A3}" type="presOf" srcId="{7E1EDFCC-BF59-4663-B3F8-70A4696DBEF7}" destId="{DED20BD4-12CA-496B-AA3D-6340FF782A74}" srcOrd="1" destOrd="0" presId="urn:microsoft.com/office/officeart/2005/8/layout/radial5"/>
    <dgm:cxn modelId="{CC414D92-F240-4A4B-BCDC-4A91DFFFEC2B}" type="presOf" srcId="{5A58FCCA-16E8-4A07-A8AB-5DEDBF7F7338}" destId="{9C1C0667-ED0D-4BD0-8386-90EC73954A88}" srcOrd="0" destOrd="0" presId="urn:microsoft.com/office/officeart/2005/8/layout/radial5"/>
    <dgm:cxn modelId="{A1EC3767-B9C7-472D-A24B-7841C09518D8}" type="presOf" srcId="{FA0B02C4-D29C-4B37-9287-02433EF8EB32}" destId="{536885C1-CB24-4FBC-B82C-9DE75A9853E2}" srcOrd="0" destOrd="0" presId="urn:microsoft.com/office/officeart/2005/8/layout/radial5"/>
    <dgm:cxn modelId="{51A14E83-F989-4A39-906B-39C17966C409}" type="presOf" srcId="{F73EC90A-B068-4D6B-A307-7F76A038CB75}" destId="{881451CB-5262-4695-9782-EB6BCB5D9B1B}" srcOrd="1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173B0D4-8B9C-494A-8996-58AAC5F5CA82}" type="presParOf" srcId="{B5244FA4-393F-49C7-A16F-FC2B79E5C3D6}" destId="{0C0155B8-0A12-4882-93DA-181D7529817D}" srcOrd="0" destOrd="0" presId="urn:microsoft.com/office/officeart/2005/8/layout/radial5"/>
    <dgm:cxn modelId="{60521A5E-9D3D-4C75-A9C6-2BB3B859A95C}" type="presParOf" srcId="{B5244FA4-393F-49C7-A16F-FC2B79E5C3D6}" destId="{CF665BDB-722A-43F7-B641-C90B082EDDE6}" srcOrd="1" destOrd="0" presId="urn:microsoft.com/office/officeart/2005/8/layout/radial5"/>
    <dgm:cxn modelId="{E076166C-8AB9-49B2-B9A7-77CA877C8410}" type="presParOf" srcId="{CF665BDB-722A-43F7-B641-C90B082EDDE6}" destId="{DED20BD4-12CA-496B-AA3D-6340FF782A74}" srcOrd="0" destOrd="0" presId="urn:microsoft.com/office/officeart/2005/8/layout/radial5"/>
    <dgm:cxn modelId="{CBDEE8AB-167D-48D4-9E04-F28101F0E63A}" type="presParOf" srcId="{B5244FA4-393F-49C7-A16F-FC2B79E5C3D6}" destId="{536885C1-CB24-4FBC-B82C-9DE75A9853E2}" srcOrd="2" destOrd="0" presId="urn:microsoft.com/office/officeart/2005/8/layout/radial5"/>
    <dgm:cxn modelId="{2663FED1-BC5D-4AE7-9FDF-03B99D26EA24}" type="presParOf" srcId="{B5244FA4-393F-49C7-A16F-FC2B79E5C3D6}" destId="{D22FC6A8-D515-477D-A90A-C7B83C68BF13}" srcOrd="3" destOrd="0" presId="urn:microsoft.com/office/officeart/2005/8/layout/radial5"/>
    <dgm:cxn modelId="{06419E42-64DE-4794-8F04-CEDDC2C4F2B5}" type="presParOf" srcId="{D22FC6A8-D515-477D-A90A-C7B83C68BF13}" destId="{881451CB-5262-4695-9782-EB6BCB5D9B1B}" srcOrd="0" destOrd="0" presId="urn:microsoft.com/office/officeart/2005/8/layout/radial5"/>
    <dgm:cxn modelId="{6F2EFD60-D038-4694-A4A8-03D8E32FAC4F}" type="presParOf" srcId="{B5244FA4-393F-49C7-A16F-FC2B79E5C3D6}" destId="{89CCFC5A-EEC9-44E2-89F6-840D11B24BE4}" srcOrd="4" destOrd="0" presId="urn:microsoft.com/office/officeart/2005/8/layout/radial5"/>
    <dgm:cxn modelId="{58EA6918-D9D7-49BC-A195-9EB8DFADAAAA}" type="presParOf" srcId="{B5244FA4-393F-49C7-A16F-FC2B79E5C3D6}" destId="{2C64306F-B27E-4CA0-84DB-1A17C42BC108}" srcOrd="5" destOrd="0" presId="urn:microsoft.com/office/officeart/2005/8/layout/radial5"/>
    <dgm:cxn modelId="{44D980E3-3698-48A0-BFB4-55FCB74465DE}" type="presParOf" srcId="{2C64306F-B27E-4CA0-84DB-1A17C42BC108}" destId="{456D7B5C-5EBA-40EE-9748-7C8A56F9ECB4}" srcOrd="0" destOrd="0" presId="urn:microsoft.com/office/officeart/2005/8/layout/radial5"/>
    <dgm:cxn modelId="{46BF6985-AEFE-497F-965E-57BBFC45CD69}" type="presParOf" srcId="{B5244FA4-393F-49C7-A16F-FC2B79E5C3D6}" destId="{9C1C0667-ED0D-4BD0-8386-90EC73954A88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2 Estimar los Costos</a:t>
          </a:r>
          <a:endParaRPr lang="es-ES" sz="2000" dirty="0">
            <a:solidFill>
              <a:schemeClr val="tx1"/>
            </a:solidFill>
          </a:endParaRPr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3 Determinar el Presupuesto</a:t>
          </a:r>
          <a:endParaRPr lang="es-ES" sz="2000" dirty="0">
            <a:solidFill>
              <a:schemeClr val="tx1"/>
            </a:solidFill>
          </a:endParaRPr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4 Controlar los Costos</a:t>
          </a:r>
          <a:endParaRPr lang="es-ES" sz="2000" dirty="0">
            <a:solidFill>
              <a:schemeClr val="tx1"/>
            </a:solidFill>
          </a:endParaRPr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59728365-DF5F-4581-AB6F-5D4F55005BC3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DAB4F3DF-2B06-4A42-80BD-C45CCAC335E9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B3A4282D-FE71-4AB1-8AA7-26AAA697E660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6880A0F-AF49-4C10-A14F-57244021DEAE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761182B6-983D-4AA8-AC66-4D1389E28C79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5BD9FE1A-2CBA-4EA7-B113-1F5F4E9BF6DE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052CBBA6-7BF7-454F-8188-06BAEAF439BF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CA2B8450-8BF8-441A-B102-DDA50933E449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11FBB7F2-2B17-4852-B2D3-06678E1C6B70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35C9AD2B-BE08-45C8-90D6-2AB166D6D310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FF3BE1DF-0F12-473A-B54C-49651A6C8703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1638007-81DA-403B-98A3-85AA257F996B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F255C8BE-2062-4544-8892-D7A15E4E5E6F}" type="presOf" srcId="{11E839E1-B711-434E-A651-6F3C323BC50C}" destId="{B3A4282D-FE71-4AB1-8AA7-26AAA697E660}" srcOrd="0" destOrd="0" presId="urn:microsoft.com/office/officeart/2008/layout/PictureStrips"/>
    <dgm:cxn modelId="{08B2CB13-BE3C-44C0-85AD-18D0F02BB4C1}" type="presOf" srcId="{BD520DCA-9E45-42B6-A648-911261184BC0}" destId="{FF3BE1DF-0F12-473A-B54C-49651A6C8703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3DB5997-A825-4520-8460-BBE4DA3F8673}" type="presOf" srcId="{E19B414F-5964-4613-9B63-747F00D38EDC}" destId="{59728365-DF5F-4581-AB6F-5D4F55005BC3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76A80FF4-97F9-463A-87DA-61A6AC97EE2B}" type="presOf" srcId="{A7A835AF-88CF-4494-A3A1-1F24B2B203DD}" destId="{052CBBA6-7BF7-454F-8188-06BAEAF439BF}" srcOrd="0" destOrd="0" presId="urn:microsoft.com/office/officeart/2008/layout/PictureStrips"/>
    <dgm:cxn modelId="{101D7CF0-5142-4D3C-9BBD-046998C2FF61}" type="presParOf" srcId="{59728365-DF5F-4581-AB6F-5D4F55005BC3}" destId="{DAB4F3DF-2B06-4A42-80BD-C45CCAC335E9}" srcOrd="0" destOrd="0" presId="urn:microsoft.com/office/officeart/2008/layout/PictureStrips"/>
    <dgm:cxn modelId="{92CE42AC-73EE-4E15-8CB0-35F981B9B475}" type="presParOf" srcId="{DAB4F3DF-2B06-4A42-80BD-C45CCAC335E9}" destId="{B3A4282D-FE71-4AB1-8AA7-26AAA697E660}" srcOrd="0" destOrd="0" presId="urn:microsoft.com/office/officeart/2008/layout/PictureStrips"/>
    <dgm:cxn modelId="{505B734F-B512-47E3-B3AB-207CF8694FED}" type="presParOf" srcId="{DAB4F3DF-2B06-4A42-80BD-C45CCAC335E9}" destId="{B6880A0F-AF49-4C10-A14F-57244021DEAE}" srcOrd="1" destOrd="0" presId="urn:microsoft.com/office/officeart/2008/layout/PictureStrips"/>
    <dgm:cxn modelId="{602D57F0-BF80-4C7A-A076-CF2E46C34095}" type="presParOf" srcId="{59728365-DF5F-4581-AB6F-5D4F55005BC3}" destId="{761182B6-983D-4AA8-AC66-4D1389E28C79}" srcOrd="1" destOrd="0" presId="urn:microsoft.com/office/officeart/2008/layout/PictureStrips"/>
    <dgm:cxn modelId="{E667A558-16FF-48DB-B374-1F88D602EB9E}" type="presParOf" srcId="{59728365-DF5F-4581-AB6F-5D4F55005BC3}" destId="{5BD9FE1A-2CBA-4EA7-B113-1F5F4E9BF6DE}" srcOrd="2" destOrd="0" presId="urn:microsoft.com/office/officeart/2008/layout/PictureStrips"/>
    <dgm:cxn modelId="{B00FEC86-ECCC-486A-B52B-311FB017A6D8}" type="presParOf" srcId="{5BD9FE1A-2CBA-4EA7-B113-1F5F4E9BF6DE}" destId="{052CBBA6-7BF7-454F-8188-06BAEAF439BF}" srcOrd="0" destOrd="0" presId="urn:microsoft.com/office/officeart/2008/layout/PictureStrips"/>
    <dgm:cxn modelId="{F4BA70C5-5D07-4DAC-9D19-4E5A63B661E1}" type="presParOf" srcId="{5BD9FE1A-2CBA-4EA7-B113-1F5F4E9BF6DE}" destId="{CA2B8450-8BF8-441A-B102-DDA50933E449}" srcOrd="1" destOrd="0" presId="urn:microsoft.com/office/officeart/2008/layout/PictureStrips"/>
    <dgm:cxn modelId="{987D92B6-459B-475B-89D7-86FBA217FCB4}" type="presParOf" srcId="{59728365-DF5F-4581-AB6F-5D4F55005BC3}" destId="{11FBB7F2-2B17-4852-B2D3-06678E1C6B70}" srcOrd="3" destOrd="0" presId="urn:microsoft.com/office/officeart/2008/layout/PictureStrips"/>
    <dgm:cxn modelId="{EA1E4376-5F00-4E53-8D29-6112DDFBD8B6}" type="presParOf" srcId="{59728365-DF5F-4581-AB6F-5D4F55005BC3}" destId="{35C9AD2B-BE08-45C8-90D6-2AB166D6D310}" srcOrd="4" destOrd="0" presId="urn:microsoft.com/office/officeart/2008/layout/PictureStrips"/>
    <dgm:cxn modelId="{4E24FF8A-7B46-476F-AB53-0040EB62AA4B}" type="presParOf" srcId="{35C9AD2B-BE08-45C8-90D6-2AB166D6D310}" destId="{FF3BE1DF-0F12-473A-B54C-49651A6C8703}" srcOrd="0" destOrd="0" presId="urn:microsoft.com/office/officeart/2008/layout/PictureStrips"/>
    <dgm:cxn modelId="{E84A4866-9808-4B81-918F-CC1EDAAD029F}" type="presParOf" srcId="{35C9AD2B-BE08-45C8-90D6-2AB166D6D310}" destId="{E1638007-81DA-403B-98A3-85AA257F996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396626-7442-4ED5-9D1C-980D308E46AE}">
      <dsp:nvSpPr>
        <dsp:cNvPr id="0" name=""/>
        <dsp:cNvSpPr/>
      </dsp:nvSpPr>
      <dsp:spPr>
        <a:xfrm>
          <a:off x="0" y="1837832"/>
          <a:ext cx="6284537" cy="61292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FD1C7D-3DA0-4403-A776-5B35FE687B38}">
      <dsp:nvSpPr>
        <dsp:cNvPr id="0" name=""/>
        <dsp:cNvSpPr/>
      </dsp:nvSpPr>
      <dsp:spPr>
        <a:xfrm>
          <a:off x="375721" y="1476651"/>
          <a:ext cx="5260096" cy="8633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1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8819" tIns="0" rIns="19881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kern="1200" dirty="0" smtClean="0"/>
            <a:t>Beneficios de la Gestión de Proyectos Profesional</a:t>
          </a:r>
          <a:endParaRPr lang="es-PE" sz="1800" kern="1200" dirty="0"/>
        </a:p>
      </dsp:txBody>
      <dsp:txXfrm>
        <a:off x="417865" y="1518795"/>
        <a:ext cx="5175808" cy="779037"/>
      </dsp:txXfrm>
    </dsp:sp>
    <dsp:sp modelId="{362963DF-47A3-4DD6-8B65-3EF9BA065D7E}">
      <dsp:nvSpPr>
        <dsp:cNvPr id="0" name=""/>
        <dsp:cNvSpPr/>
      </dsp:nvSpPr>
      <dsp:spPr>
        <a:xfrm>
          <a:off x="0" y="3001487"/>
          <a:ext cx="6293855" cy="61292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3E3F85-A2D8-4758-A59F-2365BAF33975}">
      <dsp:nvSpPr>
        <dsp:cNvPr id="0" name=""/>
        <dsp:cNvSpPr/>
      </dsp:nvSpPr>
      <dsp:spPr>
        <a:xfrm>
          <a:off x="375721" y="2586614"/>
          <a:ext cx="5260096" cy="8633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1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8819" tIns="0" rIns="19881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b="0" kern="1200" dirty="0"/>
            <a:t>Motivos y ventajas de usar Gestión de </a:t>
          </a:r>
          <a:r>
            <a:rPr lang="es-PE" sz="1800" b="0" kern="1200" dirty="0" smtClean="0"/>
            <a:t>Proyectos</a:t>
          </a:r>
          <a:endParaRPr lang="es-PE" sz="1800" b="0" kern="1200" dirty="0">
            <a:solidFill>
              <a:schemeClr val="tx1">
                <a:lumMod val="75000"/>
                <a:lumOff val="25000"/>
              </a:schemeClr>
            </a:solidFill>
            <a:cs typeface="Arial" panose="020B0604020202020204" pitchFamily="34" charset="0"/>
          </a:endParaRPr>
        </a:p>
      </dsp:txBody>
      <dsp:txXfrm>
        <a:off x="417865" y="2628758"/>
        <a:ext cx="5175808" cy="7790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CB0A2-85B7-413A-ACBC-338AA533317E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17030-7438-4785-BB7A-6B29CE361DF1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84840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D0F8E-A87B-46FE-993A-529C34F3C7E7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9E7C9-C0D9-40BE-9203-0CD14AC7B9F5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0964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021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0AC9C27-8546-4210-8844-422154AEBF79}" type="slidenum">
              <a:rPr lang="en-GB" altLang="es-PE"/>
              <a:pPr/>
              <a:t>3</a:t>
            </a:fld>
            <a:endParaRPr lang="en-GB" altLang="es-PE" dirty="0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150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50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244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091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5" y="2160589"/>
            <a:ext cx="4184035" cy="388077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977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6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6" y="2737247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5" y="2737247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026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781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7807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2" y="514926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51" indent="0">
              <a:buNone/>
              <a:defRPr sz="1400"/>
            </a:lvl2pPr>
            <a:lvl3pPr marL="914104" indent="0">
              <a:buNone/>
              <a:defRPr sz="1200"/>
            </a:lvl3pPr>
            <a:lvl4pPr marL="1371155" indent="0">
              <a:buNone/>
              <a:defRPr sz="1000"/>
            </a:lvl4pPr>
            <a:lvl5pPr marL="1828205" indent="0">
              <a:buNone/>
              <a:defRPr sz="1000"/>
            </a:lvl5pPr>
            <a:lvl6pPr marL="2285258" indent="0">
              <a:buNone/>
              <a:defRPr sz="1000"/>
            </a:lvl6pPr>
            <a:lvl7pPr marL="2742309" indent="0">
              <a:buNone/>
              <a:defRPr sz="1000"/>
            </a:lvl7pPr>
            <a:lvl8pPr marL="3199360" indent="0">
              <a:buNone/>
              <a:defRPr sz="1000"/>
            </a:lvl8pPr>
            <a:lvl9pPr marL="3656411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40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4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C2CEF-F3EB-43E7-A8FB-39539CA2A28F}" type="datetimeFigureOut">
              <a:rPr lang="es-PE" smtClean="0"/>
              <a:t>08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5" y="6041364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4" y="6041364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49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91" indent="-342891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2">
            <a:lum bright="-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265" y="0"/>
            <a:ext cx="8648699" cy="685800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1" y="1854201"/>
            <a:ext cx="12206147" cy="3636283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F DinDisplay Pro Black" panose="02000503030000020004" pitchFamily="2" charset="0"/>
                <a:ea typeface="Dotum" panose="020B0600000101010101" pitchFamily="34" charset="-127"/>
                <a:cs typeface="+mj-cs"/>
              </a:rPr>
              <a:t>Proyecto: “Evaluación y Propuesta de Mejora del Procedimiento para la Gestión de Proyectos Informáticos”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3" y="69125"/>
            <a:ext cx="4464689" cy="842007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5"/>
          <p:cNvSpPr txBox="1">
            <a:spLocks noChangeArrowheads="1"/>
          </p:cNvSpPr>
          <p:nvPr/>
        </p:nvSpPr>
        <p:spPr>
          <a:xfrm>
            <a:off x="0" y="5696872"/>
            <a:ext cx="5800299" cy="95474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Autofit/>
          </a:bodyPr>
          <a:lstStyle>
            <a:lvl1pPr marL="0" indent="0" algn="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altLang="es-PE" sz="2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Gestión de Proyectos Profesional</a:t>
            </a:r>
          </a:p>
        </p:txBody>
      </p:sp>
    </p:spTree>
    <p:extLst>
      <p:ext uri="{BB962C8B-B14F-4D97-AF65-F5344CB8AC3E}">
        <p14:creationId xmlns:p14="http://schemas.microsoft.com/office/powerpoint/2010/main" val="75175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289086"/>
            <a:ext cx="9134317" cy="92157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Un </a:t>
            </a:r>
            <a:r>
              <a:rPr lang="es-PE" altLang="es-PE" sz="2300" dirty="0"/>
              <a:t>marco que las organizaciones pueden usar para identificar, establecer y mantener las capacidades requeridas</a:t>
            </a:r>
            <a:r>
              <a:rPr lang="es-PE" altLang="es-PE" sz="2300" dirty="0" smtClean="0"/>
              <a:t>.</a:t>
            </a:r>
            <a:endParaRPr lang="es-PE" altLang="es-PE" sz="2300" dirty="0"/>
          </a:p>
        </p:txBody>
      </p:sp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2546860" y="3210657"/>
            <a:ext cx="90441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BIT</a:t>
            </a:r>
          </a:p>
        </p:txBody>
      </p:sp>
      <p:sp>
        <p:nvSpPr>
          <p:cNvPr id="7" name="Text Box 20"/>
          <p:cNvSpPr txBox="1">
            <a:spLocks noChangeArrowheads="1"/>
          </p:cNvSpPr>
          <p:nvPr/>
        </p:nvSpPr>
        <p:spPr bwMode="auto">
          <a:xfrm>
            <a:off x="7975363" y="3210657"/>
            <a:ext cx="79541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MMI</a:t>
            </a:r>
          </a:p>
        </p:txBody>
      </p:sp>
      <p:pic>
        <p:nvPicPr>
          <p:cNvPr id="8" name="Picture 2" descr="Resultado de imagen para maturity model cobi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40" y="4089739"/>
            <a:ext cx="4643456" cy="180514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312" y="3610767"/>
            <a:ext cx="4977514" cy="3182900"/>
          </a:xfrm>
          <a:prstGeom prst="rect">
            <a:avLst/>
          </a:prstGeom>
        </p:spPr>
      </p:pic>
      <p:sp>
        <p:nvSpPr>
          <p:cNvPr id="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¿ Qué es un Modelo de Madurez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213593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305254"/>
            <a:ext cx="9067267" cy="63797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Producir </a:t>
            </a:r>
            <a:r>
              <a:rPr lang="es-PE" altLang="es-PE" sz="2300" dirty="0"/>
              <a:t>éxitos repetidos en </a:t>
            </a:r>
            <a:r>
              <a:rPr lang="es-PE" altLang="es-PE" sz="2300" dirty="0" smtClean="0"/>
              <a:t>Gestión de Proyectos</a:t>
            </a:r>
            <a:r>
              <a:rPr lang="es-PE" altLang="es-PE" sz="2300" dirty="0"/>
              <a:t>.</a:t>
            </a:r>
          </a:p>
        </p:txBody>
      </p:sp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2064838" y="2957739"/>
            <a:ext cx="69751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PE" altLang="es-PE" sz="2000" b="1" i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mayor madurez, mayor capacidad de producir éxitos</a:t>
            </a:r>
            <a:r>
              <a:rPr lang="es-PE" altLang="es-PE" sz="2000" b="1" i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eaLnBrk="1" hangingPunct="1"/>
            <a:r>
              <a:rPr lang="es-PE" altLang="es-PE" sz="2000" b="1" i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menor madurez, menor capacidad de producir éxitos.</a:t>
            </a:r>
            <a:endParaRPr lang="es-ES" altLang="es-PE" sz="2000" b="1" i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Picture 4" descr="Resultado de imagen para niveles de Madurez opm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23" b="7916"/>
          <a:stretch/>
        </p:blipFill>
        <p:spPr bwMode="auto">
          <a:xfrm>
            <a:off x="1855965" y="3845668"/>
            <a:ext cx="5341059" cy="283453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896438" y="4812023"/>
            <a:ext cx="8579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PM3</a:t>
            </a:r>
          </a:p>
        </p:txBody>
      </p:sp>
      <p:pic>
        <p:nvPicPr>
          <p:cNvPr id="12" name="Picture 4" descr="Tre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01635" y="3845668"/>
            <a:ext cx="2159452" cy="2834530"/>
          </a:xfrm>
          <a:prstGeom prst="rect">
            <a:avLst/>
          </a:prstGeom>
          <a:ln>
            <a:solidFill>
              <a:srgbClr val="0070C0"/>
            </a:solidFill>
          </a:ln>
          <a:effectLst/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643162"/>
            <a:ext cx="9067266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significa Madurez en Gestión de Proyectos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2497820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8079362" y="3425895"/>
            <a:ext cx="1995935" cy="103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oject Management </a:t>
            </a:r>
            <a:r>
              <a:rPr lang="es-ES" altLang="es-P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turity</a:t>
            </a:r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PMM)</a:t>
            </a:r>
          </a:p>
        </p:txBody>
      </p:sp>
      <p:pic>
        <p:nvPicPr>
          <p:cNvPr id="8" name="Picture 4" descr="BerkeleyPMM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893" y="2590683"/>
            <a:ext cx="5429722" cy="3271757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1443541" y="5960082"/>
            <a:ext cx="783703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0" y="1643162"/>
            <a:ext cx="10550953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El Modelo de Berkeley de Madurez de Gestión de Proyectos</a:t>
            </a:r>
          </a:p>
        </p:txBody>
      </p:sp>
    </p:spTree>
    <p:extLst>
      <p:ext uri="{BB962C8B-B14F-4D97-AF65-F5344CB8AC3E}">
        <p14:creationId xmlns:p14="http://schemas.microsoft.com/office/powerpoint/2010/main" val="343088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883746" cy="6466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958127" y="4927601"/>
            <a:ext cx="9153716" cy="101391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Nota</a:t>
            </a:r>
            <a:r>
              <a:rPr lang="es-PE" altLang="es-PE" sz="2300" dirty="0"/>
              <a:t>:</a:t>
            </a:r>
            <a:r>
              <a:rPr lang="es-PE" altLang="es-PE" sz="2300" dirty="0" smtClean="0"/>
              <a:t> En </a:t>
            </a:r>
            <a:r>
              <a:rPr lang="es-PE" altLang="es-PE" sz="2300" dirty="0"/>
              <a:t>lo que sigue de la presentación se usan las definiciones de CPI y </a:t>
            </a:r>
            <a:r>
              <a:rPr lang="es-PE" altLang="es-PE" sz="2300" dirty="0" smtClean="0"/>
              <a:t>SPI del </a:t>
            </a:r>
            <a:r>
              <a:rPr lang="es-PE" altLang="es-PE" sz="2300" dirty="0"/>
              <a:t>Modelo Berkeley y no las del PMBOK.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1497329" y="6114234"/>
            <a:ext cx="861451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c</a:t>
            </a:r>
            <a:endParaRPr lang="es-ES" altLang="es-PE" sz="1050" b="1" dirty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7" name="Picture 4" descr="DefinicionCPIS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329" y="2097408"/>
            <a:ext cx="8075312" cy="26574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87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5123389"/>
            <a:ext cx="8596667" cy="1494464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dirty="0"/>
              <a:t>Por ejemplo:</a:t>
            </a:r>
          </a:p>
          <a:p>
            <a:pPr marL="0" indent="0" algn="just">
              <a:buNone/>
            </a:pPr>
            <a:r>
              <a:rPr lang="es-PE" altLang="es-PE" dirty="0"/>
              <a:t>Un proyecto tiene un presupuesto de $</a:t>
            </a:r>
            <a:r>
              <a:rPr lang="es-PE" altLang="es-PE" dirty="0" smtClean="0"/>
              <a:t>60,000 </a:t>
            </a:r>
            <a:r>
              <a:rPr lang="es-PE" altLang="es-PE" dirty="0"/>
              <a:t>y se ha gastado $80,000, el cálculo sería:</a:t>
            </a:r>
          </a:p>
          <a:p>
            <a:pPr marL="0" indent="0" algn="just">
              <a:buNone/>
            </a:pPr>
            <a:r>
              <a:rPr lang="es-PE" altLang="es-PE" dirty="0"/>
              <a:t>CPI= $60,000/$80,000 = 0.75, el proyecto ha gastado más de lo presupuestado.</a:t>
            </a:r>
          </a:p>
        </p:txBody>
      </p:sp>
      <p:pic>
        <p:nvPicPr>
          <p:cNvPr id="6" name="Picture 6" descr="Resultado de imagen para budge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2377" y="5123389"/>
            <a:ext cx="2240369" cy="14944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389170"/>
              </p:ext>
            </p:extLst>
          </p:nvPr>
        </p:nvGraphicFramePr>
        <p:xfrm>
          <a:off x="789078" y="3357324"/>
          <a:ext cx="9636553" cy="1728000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3045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320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&lt; 1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no es bueno, el proyecto tiene un costo real mayor al presupues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= 1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 bueno, el proyecto tiene un costo real igual al proyec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&gt;1 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 muy bueno, el proyecto tiene un costo real menor al presupues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1" y="1643162"/>
            <a:ext cx="7202636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Índice de Eficiencia del Costo (CPI)</a:t>
            </a:r>
          </a:p>
        </p:txBody>
      </p:sp>
      <p:pic>
        <p:nvPicPr>
          <p:cNvPr id="10" name="Picture 4" descr="DefinicionCPISPI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94784" y="2532392"/>
            <a:ext cx="5225143" cy="62411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39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esultado de imagen para revisiÃ³n gif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978" y="5056095"/>
            <a:ext cx="1646398" cy="164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140265" y="5494403"/>
            <a:ext cx="6729917" cy="44745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un mayor cumplimiento de presupuesto”</a:t>
            </a: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2107415" y="6576208"/>
            <a:ext cx="793825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1" name="19 Rectángulo"/>
          <p:cNvSpPr/>
          <p:nvPr/>
        </p:nvSpPr>
        <p:spPr>
          <a:xfrm>
            <a:off x="2140265" y="5813293"/>
            <a:ext cx="69957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 &lt;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es malo,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 proyecto tiene un costo real mayor al presupuestado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 =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bueno, el proyecto tiene un costo real igual al proyectado.</a:t>
            </a:r>
          </a:p>
          <a:p>
            <a:pPr defTabSz="914400">
              <a:defRPr/>
            </a:pP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PI &gt;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uy bueno, el proyecto tiene un costo real menor al presupuestado.</a:t>
            </a:r>
          </a:p>
        </p:txBody>
      </p:sp>
      <p:sp>
        <p:nvSpPr>
          <p:cNvPr id="12" name="23 Rectángulo redondeado"/>
          <p:cNvSpPr/>
          <p:nvPr/>
        </p:nvSpPr>
        <p:spPr>
          <a:xfrm>
            <a:off x="247745" y="2461357"/>
            <a:ext cx="2308028" cy="2639307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solidFill>
                  <a:schemeClr val="tx1"/>
                </a:solidFill>
              </a:rPr>
              <a:t>Se hizo un estudio cualitativo en 26 compañías y 64 proyectos donde se midió el Grado de Madurez en Gestión de Proyectos (PMM) de la empresa y el CPI promedio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3" name="24 Flecha derecha"/>
          <p:cNvSpPr/>
          <p:nvPr/>
        </p:nvSpPr>
        <p:spPr>
          <a:xfrm>
            <a:off x="2612084" y="3323331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21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Cumplimiento de </a:t>
            </a:r>
            <a:r>
              <a:rPr lang="es-PE" sz="2800" b="1" dirty="0" smtClean="0"/>
              <a:t>Presupuesto</a:t>
            </a:r>
            <a:endParaRPr lang="es-PE" sz="2800" b="1" dirty="0"/>
          </a:p>
        </p:txBody>
      </p:sp>
      <p:grpSp>
        <p:nvGrpSpPr>
          <p:cNvPr id="14" name="Grupo 13"/>
          <p:cNvGrpSpPr/>
          <p:nvPr/>
        </p:nvGrpSpPr>
        <p:grpSpPr>
          <a:xfrm>
            <a:off x="3577952" y="2355826"/>
            <a:ext cx="4120383" cy="3129435"/>
            <a:chOff x="2505203" y="1607299"/>
            <a:chExt cx="4435200" cy="3360000"/>
          </a:xfrm>
          <a:effectLst/>
        </p:grpSpPr>
        <p:pic>
          <p:nvPicPr>
            <p:cNvPr id="15" name="Picture 4" descr="CPIvsPM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5203" y="1607299"/>
              <a:ext cx="4435200" cy="336000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Line 7"/>
            <p:cNvSpPr>
              <a:spLocks noChangeShapeType="1"/>
            </p:cNvSpPr>
            <p:nvPr/>
          </p:nvSpPr>
          <p:spPr bwMode="auto">
            <a:xfrm flipV="1">
              <a:off x="3004120" y="2797284"/>
              <a:ext cx="3646063" cy="6637"/>
            </a:xfrm>
            <a:prstGeom prst="line">
              <a:avLst/>
            </a:prstGeom>
            <a:noFill/>
            <a:ln w="28575">
              <a:solidFill>
                <a:srgbClr val="CC33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PE"/>
            </a:p>
          </p:txBody>
        </p:sp>
        <p:cxnSp>
          <p:nvCxnSpPr>
            <p:cNvPr id="17" name="20 Conector recto de flecha"/>
            <p:cNvCxnSpPr/>
            <p:nvPr/>
          </p:nvCxnSpPr>
          <p:spPr>
            <a:xfrm flipV="1">
              <a:off x="4154312" y="2619536"/>
              <a:ext cx="1752223" cy="667763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21 CuadroTexto"/>
            <p:cNvSpPr txBox="1"/>
            <p:nvPr/>
          </p:nvSpPr>
          <p:spPr>
            <a:xfrm>
              <a:off x="3620191" y="3169255"/>
              <a:ext cx="5068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malo</a:t>
              </a:r>
              <a:endParaRPr lang="es-ES" sz="1200" b="1" dirty="0"/>
            </a:p>
          </p:txBody>
        </p:sp>
        <p:sp>
          <p:nvSpPr>
            <p:cNvPr id="19" name="22 CuadroTexto"/>
            <p:cNvSpPr txBox="1"/>
            <p:nvPr/>
          </p:nvSpPr>
          <p:spPr>
            <a:xfrm>
              <a:off x="5896568" y="2427953"/>
              <a:ext cx="5950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bueno</a:t>
              </a:r>
              <a:endParaRPr lang="es-ES" sz="1200" b="1" dirty="0"/>
            </a:p>
          </p:txBody>
        </p:sp>
      </p:grp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7243527" y="2020730"/>
            <a:ext cx="2932283" cy="3360000"/>
          </a:xfrm>
          <a:prstGeom prst="irregularSeal1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Proyecto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terminan </a:t>
            </a: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dentro del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presupuesto</a:t>
            </a:r>
          </a:p>
        </p:txBody>
      </p:sp>
    </p:spTree>
    <p:extLst>
      <p:ext uri="{BB962C8B-B14F-4D97-AF65-F5344CB8AC3E}">
        <p14:creationId xmlns:p14="http://schemas.microsoft.com/office/powerpoint/2010/main" val="617796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5123389"/>
            <a:ext cx="8829730" cy="1494464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dirty="0"/>
              <a:t>Por ejemplo:</a:t>
            </a:r>
          </a:p>
          <a:p>
            <a:pPr marL="0" indent="0" algn="just">
              <a:buNone/>
            </a:pPr>
            <a:r>
              <a:rPr lang="es-PE" altLang="es-PE" dirty="0"/>
              <a:t>Un proyecto tiene un plazo de 12 meses y se ha terminado en 16 meses, el cálculo sería:</a:t>
            </a:r>
          </a:p>
          <a:p>
            <a:pPr marL="0" indent="0" algn="just">
              <a:buNone/>
            </a:pPr>
            <a:r>
              <a:rPr lang="es-PE" altLang="es-PE" dirty="0"/>
              <a:t>SPI= 12 meses/ 16 meses = 0.75, el proyecto se ha demorado más de lo planificado.</a:t>
            </a:r>
          </a:p>
        </p:txBody>
      </p:sp>
      <p:graphicFrame>
        <p:nvGraphicFramePr>
          <p:cNvPr id="8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602957"/>
              </p:ext>
            </p:extLst>
          </p:nvPr>
        </p:nvGraphicFramePr>
        <p:xfrm>
          <a:off x="789078" y="3357324"/>
          <a:ext cx="8422157" cy="1728000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3045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1176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&lt; 1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malo, el proyecto se demoró más de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= 1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bueno, el proyecto se demoró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&gt;1 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muy bueno, el proyecto demoró menos de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0" y="1643162"/>
            <a:ext cx="8036353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Índice de Eficiencia del Cronograma (SPI)</a:t>
            </a:r>
          </a:p>
        </p:txBody>
      </p:sp>
      <p:pic>
        <p:nvPicPr>
          <p:cNvPr id="9" name="Picture 4" descr="DefinicionCPISPI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9" t="46148" r="14835" b="31459"/>
          <a:stretch/>
        </p:blipFill>
        <p:spPr bwMode="auto">
          <a:xfrm>
            <a:off x="2994784" y="2494327"/>
            <a:ext cx="5660572" cy="5950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Resultado de imagen para time project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055" y="4871166"/>
            <a:ext cx="2288236" cy="17466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21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esultado de imagen para revisiÃ³n gif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978" y="5056095"/>
            <a:ext cx="1646398" cy="164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112377" y="5403248"/>
            <a:ext cx="6729917" cy="39105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mayor cumplimiento de plaz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2118330" y="6587077"/>
            <a:ext cx="793825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1" name="19 Rectángulo"/>
          <p:cNvSpPr/>
          <p:nvPr/>
        </p:nvSpPr>
        <p:spPr>
          <a:xfrm>
            <a:off x="2112377" y="5791057"/>
            <a:ext cx="69957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&lt;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alo porque significa que el proyecto terminó atrasado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=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bueno, significa que el proyecto termino en el tiempo previsto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&gt;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uy bueno, significa que el proyecto terminó antes de lo previsto.</a:t>
            </a:r>
          </a:p>
        </p:txBody>
      </p:sp>
      <p:sp>
        <p:nvSpPr>
          <p:cNvPr id="12" name="23 Rectángulo redondeado"/>
          <p:cNvSpPr/>
          <p:nvPr/>
        </p:nvSpPr>
        <p:spPr>
          <a:xfrm>
            <a:off x="261526" y="2541494"/>
            <a:ext cx="2308028" cy="2769543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21 compañías y 68 proyectos donde se midió el Grado de Madurez en Gestión de Proyectos (PMM) de la empresa y el SPI promedio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3" name="24 Flecha derecha"/>
          <p:cNvSpPr/>
          <p:nvPr/>
        </p:nvSpPr>
        <p:spPr>
          <a:xfrm>
            <a:off x="2653494" y="3464823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24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Cumplimiento de Cronogramas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3427314" y="2349409"/>
            <a:ext cx="4365883" cy="3032908"/>
            <a:chOff x="2476740" y="1474916"/>
            <a:chExt cx="4921519" cy="3360000"/>
          </a:xfrm>
          <a:effectLst/>
        </p:grpSpPr>
        <p:pic>
          <p:nvPicPr>
            <p:cNvPr id="18" name="Picture 7" descr="SPIvsPM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6740" y="1474916"/>
              <a:ext cx="4921519" cy="336000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Line 7"/>
            <p:cNvSpPr>
              <a:spLocks noChangeShapeType="1"/>
            </p:cNvSpPr>
            <p:nvPr/>
          </p:nvSpPr>
          <p:spPr bwMode="auto">
            <a:xfrm flipV="1">
              <a:off x="3004117" y="2661966"/>
              <a:ext cx="4103263" cy="0"/>
            </a:xfrm>
            <a:prstGeom prst="line">
              <a:avLst/>
            </a:prstGeom>
            <a:noFill/>
            <a:ln w="28575">
              <a:solidFill>
                <a:srgbClr val="CC33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PE"/>
            </a:p>
          </p:txBody>
        </p:sp>
        <p:cxnSp>
          <p:nvCxnSpPr>
            <p:cNvPr id="20" name="43 Conector recto de flecha"/>
            <p:cNvCxnSpPr/>
            <p:nvPr/>
          </p:nvCxnSpPr>
          <p:spPr>
            <a:xfrm flipV="1">
              <a:off x="3962398" y="2432425"/>
              <a:ext cx="2122311" cy="105362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44 CuadroTexto"/>
            <p:cNvSpPr txBox="1"/>
            <p:nvPr/>
          </p:nvSpPr>
          <p:spPr>
            <a:xfrm>
              <a:off x="3428277" y="3381635"/>
              <a:ext cx="5068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malo</a:t>
              </a:r>
              <a:endParaRPr lang="es-ES" sz="1200" b="1" dirty="0"/>
            </a:p>
          </p:txBody>
        </p:sp>
        <p:sp>
          <p:nvSpPr>
            <p:cNvPr id="22" name="45 CuadroTexto"/>
            <p:cNvSpPr txBox="1"/>
            <p:nvPr/>
          </p:nvSpPr>
          <p:spPr>
            <a:xfrm>
              <a:off x="6084709" y="2247759"/>
              <a:ext cx="5950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bueno</a:t>
              </a:r>
              <a:endParaRPr lang="es-ES" sz="1200" b="1" dirty="0"/>
            </a:p>
          </p:txBody>
        </p:sp>
      </p:grp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7641274" y="2250233"/>
            <a:ext cx="2805943" cy="3060804"/>
          </a:xfrm>
          <a:prstGeom prst="irregularSeal1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Proyectos termina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a tiempo</a:t>
            </a:r>
          </a:p>
        </p:txBody>
      </p:sp>
    </p:spTree>
    <p:extLst>
      <p:ext uri="{BB962C8B-B14F-4D97-AF65-F5344CB8AC3E}">
        <p14:creationId xmlns:p14="http://schemas.microsoft.com/office/powerpoint/2010/main" val="406562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/>
          </p:cNvSpPr>
          <p:nvPr/>
        </p:nvSpPr>
        <p:spPr>
          <a:xfrm>
            <a:off x="677340" y="2331575"/>
            <a:ext cx="5144429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1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C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alejad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CPI está alejada de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malo!</a:t>
            </a:r>
            <a:r>
              <a:rPr lang="es-PE" altLang="es-PE" sz="2000" dirty="0"/>
              <a:t>, hay poca predictibilidad </a:t>
            </a:r>
            <a:r>
              <a:rPr lang="es-PE" altLang="es-PE" sz="2000" dirty="0" smtClean="0"/>
              <a:t>del costo </a:t>
            </a:r>
            <a:r>
              <a:rPr lang="es-PE" altLang="es-PE" sz="2000" dirty="0"/>
              <a:t>real de los </a:t>
            </a:r>
            <a:r>
              <a:rPr lang="es-PE" altLang="es-PE" sz="2000" dirty="0" smtClean="0"/>
              <a:t>proyectos.</a:t>
            </a:r>
            <a:endParaRPr lang="es-PE" altLang="es-PE" sz="2000" dirty="0"/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4639688"/>
            <a:ext cx="5144431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2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C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cercan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CPI está cercana a </a:t>
            </a:r>
            <a:r>
              <a:rPr lang="es-PE" altLang="es-PE" sz="2000" dirty="0" smtClean="0"/>
              <a:t>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 smtClean="0">
                <a:solidFill>
                  <a:srgbClr val="FF0000"/>
                </a:solidFill>
              </a:rPr>
              <a:t>¡</a:t>
            </a:r>
            <a:r>
              <a:rPr lang="es-PE" altLang="es-PE" sz="2000" dirty="0">
                <a:solidFill>
                  <a:srgbClr val="FF0000"/>
                </a:solidFill>
              </a:rPr>
              <a:t>es bueno!</a:t>
            </a:r>
            <a:r>
              <a:rPr lang="es-PE" altLang="es-PE" sz="2000" dirty="0"/>
              <a:t>, hay alta predictibilidad </a:t>
            </a:r>
            <a:r>
              <a:rPr lang="es-PE" altLang="es-PE" sz="2000" dirty="0" smtClean="0"/>
              <a:t>del costo </a:t>
            </a:r>
            <a:r>
              <a:rPr lang="es-PE" altLang="es-PE" sz="2000" dirty="0"/>
              <a:t>real de los proyectos.</a:t>
            </a: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0368" y="4569330"/>
            <a:ext cx="4767485" cy="22093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Desviación Estándar del CPI</a:t>
            </a: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368" y="2232964"/>
            <a:ext cx="4767485" cy="206062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42132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2468377" y="6451630"/>
            <a:ext cx="783166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Fuente: Quantifying the Value of Project Management, W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,© 2002 Project Management Institute, Inc</a:t>
            </a:r>
            <a:r>
              <a:rPr lang="en-US" altLang="es-PE" sz="900" b="1" dirty="0" smtClean="0">
                <a:solidFill>
                  <a:schemeClr val="tx1"/>
                </a:solidFill>
                <a:latin typeface="Arial" charset="0"/>
              </a:rPr>
              <a:t>.</a:t>
            </a:r>
            <a:endParaRPr lang="en-US" altLang="es-PE" sz="900" b="1" dirty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47" name="Picture 4" descr="CPISigmaPM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326" y="2495485"/>
            <a:ext cx="5087637" cy="33600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AutoShape 6"/>
          <p:cNvSpPr>
            <a:spLocks noChangeArrowheads="1"/>
          </p:cNvSpPr>
          <p:nvPr/>
        </p:nvSpPr>
        <p:spPr bwMode="auto">
          <a:xfrm rot="21325920">
            <a:off x="8001853" y="3102026"/>
            <a:ext cx="2701818" cy="2914789"/>
          </a:xfrm>
          <a:prstGeom prst="irregularSeal1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Costos de lo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proyectos s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má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predecibles</a:t>
            </a:r>
          </a:p>
        </p:txBody>
      </p:sp>
      <p:cxnSp>
        <p:nvCxnSpPr>
          <p:cNvPr id="49" name="38 Conector recto de flecha"/>
          <p:cNvCxnSpPr/>
          <p:nvPr/>
        </p:nvCxnSpPr>
        <p:spPr>
          <a:xfrm>
            <a:off x="5727812" y="3120086"/>
            <a:ext cx="1766711" cy="115057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40 CuadroTexto"/>
          <p:cNvSpPr txBox="1"/>
          <p:nvPr/>
        </p:nvSpPr>
        <p:spPr>
          <a:xfrm>
            <a:off x="5114666" y="2890264"/>
            <a:ext cx="5068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smtClean="0"/>
              <a:t>malo</a:t>
            </a:r>
            <a:endParaRPr lang="es-ES" sz="1200" b="1" dirty="0"/>
          </a:p>
        </p:txBody>
      </p:sp>
      <p:sp>
        <p:nvSpPr>
          <p:cNvPr id="52" name="41 CuadroTexto"/>
          <p:cNvSpPr txBox="1"/>
          <p:nvPr/>
        </p:nvSpPr>
        <p:spPr>
          <a:xfrm>
            <a:off x="7409856" y="4202912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smtClean="0"/>
              <a:t>bueno</a:t>
            </a:r>
            <a:endParaRPr lang="es-ES" sz="1200" b="1" dirty="0"/>
          </a:p>
        </p:txBody>
      </p:sp>
      <p:sp>
        <p:nvSpPr>
          <p:cNvPr id="55" name="23 Rectángulo redondeado"/>
          <p:cNvSpPr/>
          <p:nvPr/>
        </p:nvSpPr>
        <p:spPr>
          <a:xfrm>
            <a:off x="261526" y="2764536"/>
            <a:ext cx="2308028" cy="2835257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7 compañías y 41 proyectos donde se midió el Grado de Madurez en Gestión de Proyectos (PMM) de la empresa y la desviación estándar del CPI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56" name="24 Flecha derecha"/>
          <p:cNvSpPr/>
          <p:nvPr/>
        </p:nvSpPr>
        <p:spPr>
          <a:xfrm>
            <a:off x="2610308" y="3879969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7" name="Rectangle 3"/>
          <p:cNvSpPr txBox="1">
            <a:spLocks noChangeArrowheads="1"/>
          </p:cNvSpPr>
          <p:nvPr/>
        </p:nvSpPr>
        <p:spPr>
          <a:xfrm>
            <a:off x="2291483" y="6018669"/>
            <a:ext cx="7448615" cy="44745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son mas predecibles los costos de los </a:t>
            </a:r>
            <a:r>
              <a:rPr lang="es-PE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yect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4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Predictibilidad de los Costos</a:t>
            </a:r>
          </a:p>
        </p:txBody>
      </p:sp>
    </p:spTree>
    <p:extLst>
      <p:ext uri="{BB962C8B-B14F-4D97-AF65-F5344CB8AC3E}">
        <p14:creationId xmlns:p14="http://schemas.microsoft.com/office/powerpoint/2010/main" val="1826586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899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0"/>
            <a:ext cx="7204536" cy="3337563"/>
          </a:xfrm>
        </p:spPr>
        <p:txBody>
          <a:bodyPr>
            <a:normAutofit/>
          </a:bodyPr>
          <a:lstStyle/>
          <a:p>
            <a:pPr algn="just">
              <a:buFont typeface="+mj-lt"/>
              <a:buAutoNum type="arabicPeriod"/>
            </a:pPr>
            <a:r>
              <a:rPr lang="es-PE" altLang="es-PE" sz="2300" dirty="0" smtClean="0"/>
              <a:t>Presentar los beneficios de </a:t>
            </a:r>
            <a:r>
              <a:rPr lang="es-PE" altLang="es-PE" sz="2300" dirty="0"/>
              <a:t>usar una </a:t>
            </a:r>
            <a:r>
              <a:rPr lang="es-PE" altLang="es-PE" sz="2300" dirty="0" smtClean="0"/>
              <a:t>Gestión </a:t>
            </a:r>
            <a:r>
              <a:rPr lang="es-PE" altLang="es-PE" sz="2300" dirty="0"/>
              <a:t>de </a:t>
            </a:r>
            <a:r>
              <a:rPr lang="es-PE" altLang="es-PE" sz="2300" dirty="0" smtClean="0"/>
              <a:t>Proyectos </a:t>
            </a:r>
            <a:r>
              <a:rPr lang="es-PE" altLang="es-PE" sz="2300" dirty="0"/>
              <a:t>P</a:t>
            </a:r>
            <a:r>
              <a:rPr lang="es-PE" altLang="es-PE" sz="2300" dirty="0" smtClean="0"/>
              <a:t>rofesional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 smtClean="0"/>
              <a:t>Presentar </a:t>
            </a:r>
            <a:r>
              <a:rPr lang="es-PE" altLang="es-PE" sz="2300" dirty="0"/>
              <a:t>los motivos y ventajas de usar las Áreas de Conocimiento y los </a:t>
            </a:r>
            <a:r>
              <a:rPr lang="es-PE" altLang="es-PE" sz="2300" dirty="0" smtClean="0"/>
              <a:t>Procesos </a:t>
            </a:r>
            <a:r>
              <a:rPr lang="es-PE" altLang="es-PE" sz="2300" dirty="0"/>
              <a:t>estándar para la Gestión de </a:t>
            </a:r>
            <a:r>
              <a:rPr lang="es-PE" altLang="es-PE" sz="2300" dirty="0" smtClean="0"/>
              <a:t>Proyectos.</a:t>
            </a:r>
            <a:endParaRPr lang="es-PE" altLang="es-PE" sz="23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OBJETIVOS</a:t>
            </a:r>
            <a:endParaRPr lang="es-PE" sz="3200" b="1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096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/>
          </p:cNvSpPr>
          <p:nvPr/>
        </p:nvSpPr>
        <p:spPr>
          <a:xfrm>
            <a:off x="677340" y="2331575"/>
            <a:ext cx="5237149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1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S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alejad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SPI está alejada de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malo!</a:t>
            </a:r>
            <a:r>
              <a:rPr lang="es-PE" altLang="es-PE" sz="2000" dirty="0"/>
              <a:t>, hay poca predictibilidad de la duración real de los proyectos.</a:t>
            </a:r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4636565"/>
            <a:ext cx="5237150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2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S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cercanos entre </a:t>
            </a:r>
            <a:r>
              <a:rPr lang="es-PE" altLang="es-PE" sz="2000" u="sng" dirty="0" smtClean="0"/>
              <a:t>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SPI está cercana a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bueno!</a:t>
            </a:r>
            <a:r>
              <a:rPr lang="es-PE" altLang="es-PE" sz="2000" dirty="0"/>
              <a:t>, hay alta predictibilidad de la duración real de los proyectos.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7209" y="4636565"/>
            <a:ext cx="4840644" cy="2180478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Desviación Estándar del SPI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7209" y="2386569"/>
            <a:ext cx="4840644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4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2468377" y="6451630"/>
            <a:ext cx="783166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Fuente: Quantifying the Value of Project Management, W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,© 2002 Project Management Institute, Inc</a:t>
            </a:r>
            <a:r>
              <a:rPr lang="en-US" altLang="es-PE" sz="900" b="1" dirty="0" smtClean="0">
                <a:solidFill>
                  <a:schemeClr val="tx1"/>
                </a:solidFill>
                <a:latin typeface="Arial" charset="0"/>
              </a:rPr>
              <a:t>.</a:t>
            </a:r>
            <a:endParaRPr lang="en-US" altLang="es-PE" sz="900" b="1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5" name="23 Rectángulo redondeado"/>
          <p:cNvSpPr/>
          <p:nvPr/>
        </p:nvSpPr>
        <p:spPr>
          <a:xfrm>
            <a:off x="261526" y="2702037"/>
            <a:ext cx="2308028" cy="2897756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7 compañías y 46 proyectos donde se midió el Grado de Madurez en Gestión de Proyectos (PMM) de la empresa y la desviación estándar del SPI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56" name="24 Flecha derecha"/>
          <p:cNvSpPr/>
          <p:nvPr/>
        </p:nvSpPr>
        <p:spPr>
          <a:xfrm>
            <a:off x="2616500" y="3705089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7" name="Rectangle 3"/>
          <p:cNvSpPr txBox="1">
            <a:spLocks noChangeArrowheads="1"/>
          </p:cNvSpPr>
          <p:nvPr/>
        </p:nvSpPr>
        <p:spPr>
          <a:xfrm>
            <a:off x="2307013" y="6066068"/>
            <a:ext cx="7448615" cy="34195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son mas predecibles los plazos de los </a:t>
            </a:r>
            <a:r>
              <a:rPr lang="es-PE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yect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326" y="2467858"/>
            <a:ext cx="5091427" cy="3432345"/>
          </a:xfrm>
          <a:prstGeom prst="rect">
            <a:avLst/>
          </a:prstGeom>
        </p:spPr>
      </p:pic>
      <p:sp>
        <p:nvSpPr>
          <p:cNvPr id="48" name="AutoShape 6"/>
          <p:cNvSpPr>
            <a:spLocks noChangeArrowheads="1"/>
          </p:cNvSpPr>
          <p:nvPr/>
        </p:nvSpPr>
        <p:spPr bwMode="auto">
          <a:xfrm rot="21325920">
            <a:off x="8120501" y="3170578"/>
            <a:ext cx="2701818" cy="2914789"/>
          </a:xfrm>
          <a:prstGeom prst="irregularSeal1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Plazo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de lo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proyectos s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má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predecibles</a:t>
            </a: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Predictibilidad de los Plazos</a:t>
            </a:r>
          </a:p>
        </p:txBody>
      </p:sp>
    </p:spTree>
    <p:extLst>
      <p:ext uri="{BB962C8B-B14F-4D97-AF65-F5344CB8AC3E}">
        <p14:creationId xmlns:p14="http://schemas.microsoft.com/office/powerpoint/2010/main" val="3485581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 txBox="1">
            <a:spLocks/>
          </p:cNvSpPr>
          <p:nvPr/>
        </p:nvSpPr>
        <p:spPr>
          <a:xfrm>
            <a:off x="677341" y="926650"/>
            <a:ext cx="9703788" cy="77381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lusiones</a:t>
            </a:r>
            <a:endParaRPr lang="es-PE" sz="3200" b="1" dirty="0"/>
          </a:p>
        </p:txBody>
      </p:sp>
      <p:sp>
        <p:nvSpPr>
          <p:cNvPr id="8" name="2 Marcador de contenido"/>
          <p:cNvSpPr txBox="1">
            <a:spLocks/>
          </p:cNvSpPr>
          <p:nvPr/>
        </p:nvSpPr>
        <p:spPr>
          <a:xfrm>
            <a:off x="677341" y="2234204"/>
            <a:ext cx="8903981" cy="28700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el cumplimiento de los </a:t>
            </a:r>
            <a:r>
              <a:rPr lang="es-PE" altLang="es-PE" sz="2800" dirty="0" smtClean="0"/>
              <a:t>plaz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Reduce </a:t>
            </a:r>
            <a:r>
              <a:rPr lang="es-PE" altLang="es-PE" sz="2800" dirty="0"/>
              <a:t>el incumplimiento de los </a:t>
            </a:r>
            <a:r>
              <a:rPr lang="es-PE" altLang="es-PE" sz="2800" dirty="0" smtClean="0"/>
              <a:t>presupuest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la predictibilidad de los plazos y de los </a:t>
            </a:r>
            <a:r>
              <a:rPr lang="es-PE" altLang="es-PE" sz="2800" dirty="0" smtClean="0"/>
              <a:t>costos.</a:t>
            </a:r>
            <a:endParaRPr lang="es-PE" altLang="es-PE" sz="2800" dirty="0"/>
          </a:p>
        </p:txBody>
      </p:sp>
    </p:spTree>
    <p:extLst>
      <p:ext uri="{BB962C8B-B14F-4D97-AF65-F5344CB8AC3E}">
        <p14:creationId xmlns:p14="http://schemas.microsoft.com/office/powerpoint/2010/main" val="140911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622176" y="2339788"/>
            <a:ext cx="6481483" cy="21246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Motivos y ventajas de usar Gestión de </a:t>
            </a:r>
            <a:r>
              <a:rPr lang="es-PE" sz="4000" b="1" dirty="0" smtClean="0"/>
              <a:t>Proyectos</a:t>
            </a:r>
            <a:endParaRPr lang="es-PE" sz="4000" b="1" dirty="0"/>
          </a:p>
        </p:txBody>
      </p:sp>
    </p:spTree>
    <p:extLst>
      <p:ext uri="{BB962C8B-B14F-4D97-AF65-F5344CB8AC3E}">
        <p14:creationId xmlns:p14="http://schemas.microsoft.com/office/powerpoint/2010/main" val="5335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Grupo de Procesos de Gestión de la Integración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0839104"/>
              </p:ext>
            </p:extLst>
          </p:nvPr>
        </p:nvGraphicFramePr>
        <p:xfrm>
          <a:off x="1001310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485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Motivos y Ventajas de utilizar la Gestión de la Integración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551199674"/>
              </p:ext>
            </p:extLst>
          </p:nvPr>
        </p:nvGraphicFramePr>
        <p:xfrm>
          <a:off x="1001310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5666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Grupo de Procesos </a:t>
            </a:r>
            <a:r>
              <a:rPr lang="es-PE" sz="2800" b="1" dirty="0"/>
              <a:t>de Gestión </a:t>
            </a:r>
            <a:r>
              <a:rPr lang="es-PE" sz="2800" b="1" dirty="0" smtClean="0"/>
              <a:t>del Alcance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4108647254"/>
              </p:ext>
            </p:extLst>
          </p:nvPr>
        </p:nvGraphicFramePr>
        <p:xfrm>
          <a:off x="1175123" y="1586753"/>
          <a:ext cx="7780374" cy="4158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8359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</a:t>
            </a:r>
            <a:r>
              <a:rPr lang="es-PE" sz="2800" b="1" dirty="0" smtClean="0"/>
              <a:t>del Alcance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013600429"/>
              </p:ext>
            </p:extLst>
          </p:nvPr>
        </p:nvGraphicFramePr>
        <p:xfrm>
          <a:off x="928650" y="1586753"/>
          <a:ext cx="8273319" cy="5271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0748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</a:t>
            </a:r>
            <a:r>
              <a:rPr lang="es-PE" sz="2800" b="1" dirty="0" smtClean="0"/>
              <a:t>del Cronograma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417088543"/>
              </p:ext>
            </p:extLst>
          </p:nvPr>
        </p:nvGraphicFramePr>
        <p:xfrm>
          <a:off x="1001310" y="1586753"/>
          <a:ext cx="8128000" cy="4691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5016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</a:t>
            </a:r>
            <a:r>
              <a:rPr lang="es-PE" sz="2800" b="1" dirty="0" smtClean="0"/>
              <a:t>del Cronograma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759680470"/>
              </p:ext>
            </p:extLst>
          </p:nvPr>
        </p:nvGraphicFramePr>
        <p:xfrm>
          <a:off x="1001310" y="1775012"/>
          <a:ext cx="8128000" cy="49591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2943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6" y="6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6" y="6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" t="2555" r="2864" b="2315"/>
          <a:stretch/>
        </p:blipFill>
        <p:spPr>
          <a:xfrm>
            <a:off x="436075" y="2059191"/>
            <a:ext cx="2357138" cy="3745261"/>
          </a:xfrm>
          <a:prstGeom prst="rect">
            <a:avLst/>
          </a:prstGeom>
        </p:spPr>
      </p:pic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3015859706"/>
              </p:ext>
            </p:extLst>
          </p:nvPr>
        </p:nvGraphicFramePr>
        <p:xfrm>
          <a:off x="3478192" y="1352232"/>
          <a:ext cx="7514423" cy="5072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AGENDA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128879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Cost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306788889"/>
              </p:ext>
            </p:extLst>
          </p:nvPr>
        </p:nvGraphicFramePr>
        <p:xfrm>
          <a:off x="1001310" y="1896036"/>
          <a:ext cx="8128000" cy="406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10239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Cost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904227735"/>
              </p:ext>
            </p:extLst>
          </p:nvPr>
        </p:nvGraphicFramePr>
        <p:xfrm>
          <a:off x="1698872" y="1813859"/>
          <a:ext cx="6732875" cy="5017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3829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 Calidad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336159753"/>
              </p:ext>
            </p:extLst>
          </p:nvPr>
        </p:nvGraphicFramePr>
        <p:xfrm>
          <a:off x="677340" y="1586753"/>
          <a:ext cx="10323773" cy="5059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75801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 Calidad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87545732"/>
              </p:ext>
            </p:extLst>
          </p:nvPr>
        </p:nvGraphicFramePr>
        <p:xfrm>
          <a:off x="1001310" y="1741714"/>
          <a:ext cx="8128000" cy="5116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683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Recurs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85040503"/>
              </p:ext>
            </p:extLst>
          </p:nvPr>
        </p:nvGraphicFramePr>
        <p:xfrm>
          <a:off x="1129139" y="1731965"/>
          <a:ext cx="8784118" cy="4291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6059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Recurs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748894152"/>
              </p:ext>
            </p:extLst>
          </p:nvPr>
        </p:nvGraphicFramePr>
        <p:xfrm>
          <a:off x="1001310" y="1627094"/>
          <a:ext cx="8128000" cy="5072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9201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s Comunica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76959494"/>
              </p:ext>
            </p:extLst>
          </p:nvPr>
        </p:nvGraphicFramePr>
        <p:xfrm>
          <a:off x="1126628" y="1828801"/>
          <a:ext cx="10160069" cy="4589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1773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s Comunica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146395701"/>
              </p:ext>
            </p:extLst>
          </p:nvPr>
        </p:nvGraphicFramePr>
        <p:xfrm>
          <a:off x="1443379" y="1586753"/>
          <a:ext cx="7243861" cy="5271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1063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Riesg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921644683"/>
              </p:ext>
            </p:extLst>
          </p:nvPr>
        </p:nvGraphicFramePr>
        <p:xfrm>
          <a:off x="1868227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6573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Riesg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596371295"/>
              </p:ext>
            </p:extLst>
          </p:nvPr>
        </p:nvGraphicFramePr>
        <p:xfrm>
          <a:off x="1873684" y="1586753"/>
          <a:ext cx="6383251" cy="5109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59608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622176" y="2339788"/>
            <a:ext cx="6481483" cy="21246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Beneficios de la Gestión de Proyectos Profesional</a:t>
            </a:r>
          </a:p>
        </p:txBody>
      </p:sp>
    </p:spTree>
    <p:extLst>
      <p:ext uri="{BB962C8B-B14F-4D97-AF65-F5344CB8AC3E}">
        <p14:creationId xmlns:p14="http://schemas.microsoft.com/office/powerpoint/2010/main" val="231955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s Adquisi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680646699"/>
              </p:ext>
            </p:extLst>
          </p:nvPr>
        </p:nvGraphicFramePr>
        <p:xfrm>
          <a:off x="1001310" y="1586753"/>
          <a:ext cx="8128000" cy="45047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82664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s Adquisi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873489752"/>
              </p:ext>
            </p:extLst>
          </p:nvPr>
        </p:nvGraphicFramePr>
        <p:xfrm>
          <a:off x="1001310" y="152564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50229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Grupo de Procesos de Gestión de </a:t>
            </a:r>
            <a:r>
              <a:rPr lang="es-PE" sz="3200" b="1" dirty="0" smtClean="0"/>
              <a:t>los Interesados</a:t>
            </a:r>
            <a:endParaRPr lang="es-PE" sz="32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710010239"/>
              </p:ext>
            </p:extLst>
          </p:nvPr>
        </p:nvGraphicFramePr>
        <p:xfrm>
          <a:off x="820213" y="1586753"/>
          <a:ext cx="8490193" cy="4113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9845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Motivos y Ventajas de utilizar la Gestión de </a:t>
            </a:r>
            <a:r>
              <a:rPr lang="es-PE" sz="2400" b="1" dirty="0" smtClean="0"/>
              <a:t>los Interesados</a:t>
            </a:r>
            <a:endParaRPr lang="es-PE" sz="24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987751679"/>
              </p:ext>
            </p:extLst>
          </p:nvPr>
        </p:nvGraphicFramePr>
        <p:xfrm>
          <a:off x="1001310" y="134520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81067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Marcador de contenido"/>
          <p:cNvSpPr>
            <a:spLocks noGrp="1"/>
          </p:cNvSpPr>
          <p:nvPr>
            <p:ph idx="1"/>
          </p:nvPr>
        </p:nvSpPr>
        <p:spPr>
          <a:xfrm>
            <a:off x="1263110" y="778565"/>
            <a:ext cx="8086299" cy="1905000"/>
          </a:xfrm>
        </p:spPr>
        <p:txBody>
          <a:bodyPr>
            <a:noAutofit/>
          </a:bodyPr>
          <a:lstStyle/>
          <a:p>
            <a:pPr marL="0" indent="0" algn="just">
              <a:lnSpc>
                <a:spcPct val="110000"/>
              </a:lnSpc>
              <a:buNone/>
            </a:pPr>
            <a:r>
              <a:rPr lang="es-PE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¿Preguntas</a:t>
            </a:r>
            <a:r>
              <a:rPr lang="es-PE" sz="4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?</a:t>
            </a:r>
            <a:endParaRPr lang="es-ES" sz="4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915" y="1956145"/>
            <a:ext cx="6397900" cy="319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51692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Beneficios </a:t>
            </a:r>
            <a:r>
              <a:rPr lang="es-PE" sz="3200" b="1" dirty="0"/>
              <a:t>de la Gestión de </a:t>
            </a:r>
            <a:r>
              <a:rPr lang="es-PE" sz="3200" b="1" dirty="0" smtClean="0"/>
              <a:t>Proyectos Profesional</a:t>
            </a:r>
            <a:endParaRPr lang="es-PE" sz="3200" b="1" dirty="0"/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2684580"/>
            <a:ext cx="8903981" cy="28700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el cumplimiento de los </a:t>
            </a:r>
            <a:r>
              <a:rPr lang="es-PE" altLang="es-PE" sz="2800" dirty="0" smtClean="0"/>
              <a:t>plaz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Reduce </a:t>
            </a:r>
            <a:r>
              <a:rPr lang="es-PE" altLang="es-PE" sz="2800" dirty="0"/>
              <a:t>el incumplimiento de los </a:t>
            </a:r>
            <a:r>
              <a:rPr lang="es-PE" altLang="es-PE" sz="2800" dirty="0" smtClean="0"/>
              <a:t>presupuest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la predictibilidad de los plazos y de los </a:t>
            </a:r>
            <a:r>
              <a:rPr lang="es-PE" altLang="es-PE" sz="2800" dirty="0" smtClean="0"/>
              <a:t>costos.</a:t>
            </a:r>
            <a:endParaRPr lang="es-PE" altLang="es-PE" sz="2800" dirty="0"/>
          </a:p>
        </p:txBody>
      </p:sp>
    </p:spTree>
    <p:extLst>
      <p:ext uri="{BB962C8B-B14F-4D97-AF65-F5344CB8AC3E}">
        <p14:creationId xmlns:p14="http://schemas.microsoft.com/office/powerpoint/2010/main" val="59792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3" y="2561666"/>
            <a:ext cx="3496440" cy="247020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23466"/>
          <a:stretch/>
        </p:blipFill>
        <p:spPr>
          <a:xfrm>
            <a:off x="8497292" y="3453795"/>
            <a:ext cx="2734815" cy="1488880"/>
          </a:xfrm>
          <a:prstGeom prst="rect">
            <a:avLst/>
          </a:prstGeom>
        </p:spPr>
      </p:pic>
      <p:sp>
        <p:nvSpPr>
          <p:cNvPr id="11" name="2 Marcador de contenido"/>
          <p:cNvSpPr txBox="1">
            <a:spLocks/>
          </p:cNvSpPr>
          <p:nvPr/>
        </p:nvSpPr>
        <p:spPr>
          <a:xfrm>
            <a:off x="1291556" y="5070936"/>
            <a:ext cx="3043093" cy="6109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2600" dirty="0" smtClean="0"/>
              <a:t>Esfuerzo temporal</a:t>
            </a:r>
            <a:endParaRPr lang="es-PE" altLang="es-PE" sz="2600" dirty="0"/>
          </a:p>
        </p:txBody>
      </p:sp>
      <p:sp>
        <p:nvSpPr>
          <p:cNvPr id="12" name="2 Marcador de contenido"/>
          <p:cNvSpPr txBox="1">
            <a:spLocks/>
          </p:cNvSpPr>
          <p:nvPr/>
        </p:nvSpPr>
        <p:spPr>
          <a:xfrm>
            <a:off x="7401750" y="5070936"/>
            <a:ext cx="2522179" cy="1276076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2600" dirty="0" smtClean="0"/>
              <a:t>Producto, servicio o resultado único</a:t>
            </a:r>
            <a:endParaRPr lang="es-PE" altLang="es-PE" sz="2600" dirty="0"/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60958" y="2669529"/>
            <a:ext cx="2262988" cy="2262988"/>
          </a:xfrm>
          <a:prstGeom prst="rect">
            <a:avLst/>
          </a:prstGeom>
        </p:spPr>
      </p:pic>
      <p:sp>
        <p:nvSpPr>
          <p:cNvPr id="15" name="Flecha derecha 14"/>
          <p:cNvSpPr/>
          <p:nvPr/>
        </p:nvSpPr>
        <p:spPr>
          <a:xfrm>
            <a:off x="4975675" y="3841364"/>
            <a:ext cx="2085283" cy="1101311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es un Proyecto?</a:t>
            </a:r>
          </a:p>
        </p:txBody>
      </p:sp>
    </p:spTree>
    <p:extLst>
      <p:ext uri="{BB962C8B-B14F-4D97-AF65-F5344CB8AC3E}">
        <p14:creationId xmlns:p14="http://schemas.microsoft.com/office/powerpoint/2010/main" val="283532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471299"/>
            <a:ext cx="9125566" cy="127594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Aplicación </a:t>
            </a:r>
            <a:r>
              <a:rPr lang="es-PE" altLang="es-PE" sz="2300" dirty="0"/>
              <a:t>de conocimientos, habilidades, herramientas, y técnicas de gestión a los procesos, actividades, y entregables de un proyecto, para lograr los objetivos del proyecto</a:t>
            </a:r>
            <a:r>
              <a:rPr lang="es-PE" altLang="es-PE" sz="2300" dirty="0" smtClean="0"/>
              <a:t>.</a:t>
            </a:r>
            <a:endParaRPr lang="es-PE" altLang="es-PE" sz="2300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l="12539" t="7599" r="13531" b="4051"/>
          <a:stretch/>
        </p:blipFill>
        <p:spPr>
          <a:xfrm>
            <a:off x="729071" y="4036632"/>
            <a:ext cx="1674449" cy="2001044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7747" y="4094722"/>
            <a:ext cx="2486043" cy="2057679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1" t="14547" r="11089" b="11529"/>
          <a:stretch/>
        </p:blipFill>
        <p:spPr>
          <a:xfrm>
            <a:off x="7838017" y="3978541"/>
            <a:ext cx="2115403" cy="2117226"/>
          </a:xfrm>
          <a:prstGeom prst="rect">
            <a:avLst/>
          </a:prstGeom>
        </p:spPr>
      </p:pic>
      <p:sp>
        <p:nvSpPr>
          <p:cNvPr id="13" name="Más 12"/>
          <p:cNvSpPr/>
          <p:nvPr/>
        </p:nvSpPr>
        <p:spPr>
          <a:xfrm>
            <a:off x="2649314" y="4529884"/>
            <a:ext cx="982639" cy="1187356"/>
          </a:xfrm>
          <a:prstGeom prst="mathPlus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Igual que 13"/>
          <p:cNvSpPr/>
          <p:nvPr/>
        </p:nvSpPr>
        <p:spPr>
          <a:xfrm>
            <a:off x="6609584" y="4782367"/>
            <a:ext cx="1105469" cy="682388"/>
          </a:xfrm>
          <a:prstGeom prst="mathEqual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</a:t>
            </a:r>
            <a:r>
              <a:rPr lang="es-PE" sz="2800" b="1" dirty="0"/>
              <a:t>Qué es Gestión de Proyectos Profesional?</a:t>
            </a:r>
          </a:p>
        </p:txBody>
      </p:sp>
    </p:spTree>
    <p:extLst>
      <p:ext uri="{BB962C8B-B14F-4D97-AF65-F5344CB8AC3E}">
        <p14:creationId xmlns:p14="http://schemas.microsoft.com/office/powerpoint/2010/main" val="70640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1573756" y="2883014"/>
            <a:ext cx="26452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RIPLE </a:t>
            </a:r>
            <a:r>
              <a:rPr lang="es-ES" altLang="es-PE" sz="2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STRICCIÓN</a:t>
            </a:r>
            <a:endParaRPr lang="es-ES" altLang="es-PE" sz="2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6057950" y="2539863"/>
            <a:ext cx="37009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Á</a:t>
            </a:r>
            <a:r>
              <a:rPr lang="es-ES" altLang="es-PE" sz="2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AS </a:t>
            </a:r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 CONOCIMIENTO</a:t>
            </a: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1449389" y="3316509"/>
            <a:ext cx="2894011" cy="2358668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s-PE" altLang="es-PE"/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1029678" y="4306931"/>
            <a:ext cx="11316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cance</a:t>
            </a: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3656854" y="4306931"/>
            <a:ext cx="16547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onograma</a:t>
            </a:r>
            <a:endParaRPr lang="es-ES" altLang="es-P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2330566" y="5743382"/>
            <a:ext cx="11316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o</a:t>
            </a:r>
          </a:p>
        </p:txBody>
      </p:sp>
      <p:graphicFrame>
        <p:nvGraphicFramePr>
          <p:cNvPr id="17" name="2 Diagrama"/>
          <p:cNvGraphicFramePr/>
          <p:nvPr>
            <p:extLst>
              <p:ext uri="{D42A27DB-BD31-4B8C-83A1-F6EECF244321}">
                <p14:modId xmlns:p14="http://schemas.microsoft.com/office/powerpoint/2010/main" val="3801369428"/>
              </p:ext>
            </p:extLst>
          </p:nvPr>
        </p:nvGraphicFramePr>
        <p:xfrm>
          <a:off x="6056942" y="3035667"/>
          <a:ext cx="3701970" cy="35320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677340" y="1643162"/>
            <a:ext cx="9730684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¿ En qué consiste la Gestión de Proyectos Profesional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143796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400735"/>
            <a:ext cx="9000059" cy="127594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Un </a:t>
            </a:r>
            <a:r>
              <a:rPr lang="es-PE" altLang="es-PE" sz="2300" dirty="0"/>
              <a:t>estado de completo desarrollo.</a:t>
            </a:r>
          </a:p>
        </p:txBody>
      </p:sp>
      <p:pic>
        <p:nvPicPr>
          <p:cNvPr id="10" name="Picture 2" descr="Resultado de imagen para maturity model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647" y="3144142"/>
            <a:ext cx="3173443" cy="3173443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¿ Qué es Madurez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426043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heme/theme1.xml><?xml version="1.0" encoding="utf-8"?>
<a:theme xmlns:a="http://schemas.openxmlformats.org/drawingml/2006/main" name="Faceta">
  <a:themeElements>
    <a:clrScheme name="Azul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aceta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BC2534E237874AB37AF376971368A1" ma:contentTypeVersion="17" ma:contentTypeDescription="Crear nuevo documento." ma:contentTypeScope="" ma:versionID="b7fc1b7999e8b5a05e6d59201b4f73f7">
  <xsd:schema xmlns:xsd="http://www.w3.org/2001/XMLSchema" xmlns:xs="http://www.w3.org/2001/XMLSchema" xmlns:p="http://schemas.microsoft.com/office/2006/metadata/properties" xmlns:ns2="0ed16b75-841b-473b-80c2-f92ca555f369" xmlns:ns3="ce6ac9bf-a463-4737-8798-f6f06c501059" targetNamespace="http://schemas.microsoft.com/office/2006/metadata/properties" ma:root="true" ma:fieldsID="9df9f9060c3eaec36d85660f75b7d25e" ns2:_="" ns3:_="">
    <xsd:import namespace="0ed16b75-841b-473b-80c2-f92ca555f369"/>
    <xsd:import namespace="ce6ac9bf-a463-4737-8798-f6f06c501059"/>
    <xsd:element name="properties">
      <xsd:complexType>
        <xsd:sequence>
          <xsd:element name="documentManagement">
            <xsd:complexType>
              <xsd:all>
                <xsd:element ref="ns2:Fech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16b75-841b-473b-80c2-f92ca555f369" elementFormDefault="qualified">
    <xsd:import namespace="http://schemas.microsoft.com/office/2006/documentManagement/types"/>
    <xsd:import namespace="http://schemas.microsoft.com/office/infopath/2007/PartnerControls"/>
    <xsd:element name="Fecha" ma:index="8" nillable="true" ma:displayName="Fecha" ma:format="DateOnly" ma:internalName="Fecha">
      <xsd:simpleType>
        <xsd:restriction base="dms:DateTim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ac9bf-a463-4737-8798-f6f06c501059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echa xmlns="0ed16b75-841b-473b-80c2-f92ca555f369" xsi:nil="true"/>
  </documentManagement>
</p:properties>
</file>

<file path=customXml/itemProps1.xml><?xml version="1.0" encoding="utf-8"?>
<ds:datastoreItem xmlns:ds="http://schemas.openxmlformats.org/officeDocument/2006/customXml" ds:itemID="{67F58E93-53A9-47EB-B8F6-2D1394FFBCD8}"/>
</file>

<file path=customXml/itemProps2.xml><?xml version="1.0" encoding="utf-8"?>
<ds:datastoreItem xmlns:ds="http://schemas.openxmlformats.org/officeDocument/2006/customXml" ds:itemID="{B85C9754-F37F-4314-BB59-1395C833C355}"/>
</file>

<file path=customXml/itemProps3.xml><?xml version="1.0" encoding="utf-8"?>
<ds:datastoreItem xmlns:ds="http://schemas.openxmlformats.org/officeDocument/2006/customXml" ds:itemID="{9400BA89-49DB-4882-B241-346212A99456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591</TotalTime>
  <Words>1980</Words>
  <Application>Microsoft Office PowerPoint</Application>
  <PresentationFormat>Panorámica</PresentationFormat>
  <Paragraphs>249</Paragraphs>
  <Slides>4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4</vt:i4>
      </vt:variant>
    </vt:vector>
  </HeadingPairs>
  <TitlesOfParts>
    <vt:vector size="55" baseType="lpstr">
      <vt:lpstr>Dotum</vt:lpstr>
      <vt:lpstr>Arial</vt:lpstr>
      <vt:lpstr>Calibri</vt:lpstr>
      <vt:lpstr>Century Gothic</vt:lpstr>
      <vt:lpstr>PF DinDisplay Pro Black</vt:lpstr>
      <vt:lpstr>Times New Roman</vt:lpstr>
      <vt:lpstr>Trebuchet MS</vt:lpstr>
      <vt:lpstr>Wingdings</vt:lpstr>
      <vt:lpstr>Wingdings 3</vt:lpstr>
      <vt:lpstr>Faceta</vt:lpstr>
      <vt:lpstr>TCLayout.ActiveDocume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grid Pizarro</dc:creator>
  <cp:lastModifiedBy>Ingrid Pizarro</cp:lastModifiedBy>
  <cp:revision>161</cp:revision>
  <dcterms:created xsi:type="dcterms:W3CDTF">2017-12-06T20:07:58Z</dcterms:created>
  <dcterms:modified xsi:type="dcterms:W3CDTF">2019-02-08T20:2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BC2534E237874AB37AF376971368A1</vt:lpwstr>
  </property>
</Properties>
</file>